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4"/>
  </p:sldMasterIdLst>
  <p:notesMasterIdLst>
    <p:notesMasterId r:id="rId8"/>
  </p:notesMasterIdLst>
  <p:sldIdLst>
    <p:sldId id="257" r:id="rId5"/>
    <p:sldId id="258" r:id="rId6"/>
    <p:sldId id="259" r:id="rId7"/>
  </p:sldIdLst>
  <p:sldSz cx="9906000" cy="6858000" type="A4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申請様式1" id="{5B80BA57-1760-4218-B3A1-308F493F79EC}">
          <p14:sldIdLst>
            <p14:sldId id="257"/>
            <p14:sldId id="258"/>
            <p14:sldId id="25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253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187624-B170-55A3-1200-BC8B5D63D106}" v="3" dt="2023-10-10T08:47:15.61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00" d="100"/>
          <a:sy n="100" d="100"/>
        </p:scale>
        <p:origin x="1596" y="84"/>
      </p:cViewPr>
      <p:guideLst>
        <p:guide orient="horz" pos="2137"/>
        <p:guide pos="253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ina, Kohei" userId="6502ebbc-7a0c-4c84-ab40-99a82449d348" providerId="ADAL" clId="{E9DB75B4-E7FD-4E07-A9F8-4EE776886281}"/>
    <pc:docChg chg="custSel addSld modSld modSection">
      <pc:chgData name="Niina, Kohei" userId="6502ebbc-7a0c-4c84-ab40-99a82449d348" providerId="ADAL" clId="{E9DB75B4-E7FD-4E07-A9F8-4EE776886281}" dt="2023-10-01T22:24:50.428" v="461"/>
      <pc:docMkLst>
        <pc:docMk/>
      </pc:docMkLst>
      <pc:sldChg chg="modSp mod">
        <pc:chgData name="Niina, Kohei" userId="6502ebbc-7a0c-4c84-ab40-99a82449d348" providerId="ADAL" clId="{E9DB75B4-E7FD-4E07-A9F8-4EE776886281}" dt="2023-10-01T22:24:39.863" v="458" actId="14100"/>
        <pc:sldMkLst>
          <pc:docMk/>
          <pc:sldMk cId="3623768495" sldId="257"/>
        </pc:sldMkLst>
        <pc:spChg chg="mod">
          <ac:chgData name="Niina, Kohei" userId="6502ebbc-7a0c-4c84-ab40-99a82449d348" providerId="ADAL" clId="{E9DB75B4-E7FD-4E07-A9F8-4EE776886281}" dt="2023-10-01T22:19:50.673" v="60" actId="20577"/>
          <ac:spMkLst>
            <pc:docMk/>
            <pc:sldMk cId="3623768495" sldId="257"/>
            <ac:spMk id="51" creationId="{7A5B9F25-175E-7B33-5203-D678032CFC51}"/>
          </ac:spMkLst>
        </pc:spChg>
        <pc:spChg chg="mod">
          <ac:chgData name="Niina, Kohei" userId="6502ebbc-7a0c-4c84-ab40-99a82449d348" providerId="ADAL" clId="{E9DB75B4-E7FD-4E07-A9F8-4EE776886281}" dt="2023-10-01T22:24:39.863" v="458" actId="14100"/>
          <ac:spMkLst>
            <pc:docMk/>
            <pc:sldMk cId="3623768495" sldId="257"/>
            <ac:spMk id="68" creationId="{091640CC-6832-07D2-2080-99B775C81D3F}"/>
          </ac:spMkLst>
        </pc:spChg>
      </pc:sldChg>
      <pc:sldChg chg="addSp delSp modSp mod">
        <pc:chgData name="Niina, Kohei" userId="6502ebbc-7a0c-4c84-ab40-99a82449d348" providerId="ADAL" clId="{E9DB75B4-E7FD-4E07-A9F8-4EE776886281}" dt="2023-10-01T22:24:46.689" v="460"/>
        <pc:sldMkLst>
          <pc:docMk/>
          <pc:sldMk cId="2776085579" sldId="258"/>
        </pc:sldMkLst>
        <pc:spChg chg="add mod">
          <ac:chgData name="Niina, Kohei" userId="6502ebbc-7a0c-4c84-ab40-99a82449d348" providerId="ADAL" clId="{E9DB75B4-E7FD-4E07-A9F8-4EE776886281}" dt="2023-10-01T22:24:46.689" v="460"/>
          <ac:spMkLst>
            <pc:docMk/>
            <pc:sldMk cId="2776085579" sldId="258"/>
            <ac:spMk id="2" creationId="{D9C02187-7290-33F2-2826-05E4AE7EDC74}"/>
          </ac:spMkLst>
        </pc:spChg>
        <pc:spChg chg="mod">
          <ac:chgData name="Niina, Kohei" userId="6502ebbc-7a0c-4c84-ab40-99a82449d348" providerId="ADAL" clId="{E9DB75B4-E7FD-4E07-A9F8-4EE776886281}" dt="2023-10-01T22:19:37.792" v="49" actId="20577"/>
          <ac:spMkLst>
            <pc:docMk/>
            <pc:sldMk cId="2776085579" sldId="258"/>
            <ac:spMk id="4" creationId="{FD1DBB9A-DE18-A086-AF2C-C0E4C0FFBACC}"/>
          </ac:spMkLst>
        </pc:spChg>
        <pc:spChg chg="del">
          <ac:chgData name="Niina, Kohei" userId="6502ebbc-7a0c-4c84-ab40-99a82449d348" providerId="ADAL" clId="{E9DB75B4-E7FD-4E07-A9F8-4EE776886281}" dt="2023-10-01T22:24:46.063" v="459" actId="478"/>
          <ac:spMkLst>
            <pc:docMk/>
            <pc:sldMk cId="2776085579" sldId="258"/>
            <ac:spMk id="27" creationId="{01C3F4EB-40BC-1F70-F4F3-E9744ADF947C}"/>
          </ac:spMkLst>
        </pc:spChg>
        <pc:spChg chg="mod">
          <ac:chgData name="Niina, Kohei" userId="6502ebbc-7a0c-4c84-ab40-99a82449d348" providerId="ADAL" clId="{E9DB75B4-E7FD-4E07-A9F8-4EE776886281}" dt="2023-10-01T22:20:27.591" v="118" actId="20577"/>
          <ac:spMkLst>
            <pc:docMk/>
            <pc:sldMk cId="2776085579" sldId="258"/>
            <ac:spMk id="58" creationId="{272B64A1-60AD-864A-391D-F2E4154B0F6D}"/>
          </ac:spMkLst>
        </pc:spChg>
        <pc:spChg chg="mod">
          <ac:chgData name="Niina, Kohei" userId="6502ebbc-7a0c-4c84-ab40-99a82449d348" providerId="ADAL" clId="{E9DB75B4-E7FD-4E07-A9F8-4EE776886281}" dt="2023-10-01T22:20:42.535" v="139" actId="20577"/>
          <ac:spMkLst>
            <pc:docMk/>
            <pc:sldMk cId="2776085579" sldId="258"/>
            <ac:spMk id="59" creationId="{1C123FBE-1587-E01F-254D-8210C1044DE2}"/>
          </ac:spMkLst>
        </pc:spChg>
      </pc:sldChg>
      <pc:sldChg chg="addSp delSp modSp new mod">
        <pc:chgData name="Niina, Kohei" userId="6502ebbc-7a0c-4c84-ab40-99a82449d348" providerId="ADAL" clId="{E9DB75B4-E7FD-4E07-A9F8-4EE776886281}" dt="2023-10-01T22:24:50.428" v="461"/>
        <pc:sldMkLst>
          <pc:docMk/>
          <pc:sldMk cId="1197323221" sldId="259"/>
        </pc:sldMkLst>
        <pc:spChg chg="del">
          <ac:chgData name="Niina, Kohei" userId="6502ebbc-7a0c-4c84-ab40-99a82449d348" providerId="ADAL" clId="{E9DB75B4-E7FD-4E07-A9F8-4EE776886281}" dt="2023-10-01T22:21:01.302" v="141" actId="478"/>
          <ac:spMkLst>
            <pc:docMk/>
            <pc:sldMk cId="1197323221" sldId="259"/>
            <ac:spMk id="2" creationId="{804D891D-CE11-AA9A-625F-AF1919818AB8}"/>
          </ac:spMkLst>
        </pc:spChg>
        <pc:spChg chg="del">
          <ac:chgData name="Niina, Kohei" userId="6502ebbc-7a0c-4c84-ab40-99a82449d348" providerId="ADAL" clId="{E9DB75B4-E7FD-4E07-A9F8-4EE776886281}" dt="2023-10-01T22:21:01.302" v="141" actId="478"/>
          <ac:spMkLst>
            <pc:docMk/>
            <pc:sldMk cId="1197323221" sldId="259"/>
            <ac:spMk id="3" creationId="{1C776E67-7B09-BEC5-42B2-FC05C2012082}"/>
          </ac:spMkLst>
        </pc:spChg>
        <pc:spChg chg="del">
          <ac:chgData name="Niina, Kohei" userId="6502ebbc-7a0c-4c84-ab40-99a82449d348" providerId="ADAL" clId="{E9DB75B4-E7FD-4E07-A9F8-4EE776886281}" dt="2023-10-01T22:21:01.302" v="141" actId="478"/>
          <ac:spMkLst>
            <pc:docMk/>
            <pc:sldMk cId="1197323221" sldId="259"/>
            <ac:spMk id="4" creationId="{7838791B-95C6-8DFD-D5DA-1BEDA0336647}"/>
          </ac:spMkLst>
        </pc:spChg>
        <pc:spChg chg="add del mod">
          <ac:chgData name="Niina, Kohei" userId="6502ebbc-7a0c-4c84-ab40-99a82449d348" providerId="ADAL" clId="{E9DB75B4-E7FD-4E07-A9F8-4EE776886281}" dt="2023-10-01T22:21:53.527" v="158" actId="478"/>
          <ac:spMkLst>
            <pc:docMk/>
            <pc:sldMk cId="1197323221" sldId="259"/>
            <ac:spMk id="5" creationId="{8B8EEB66-7226-A5F9-2C97-63EE920E993D}"/>
          </ac:spMkLst>
        </pc:spChg>
        <pc:spChg chg="add del mod">
          <ac:chgData name="Niina, Kohei" userId="6502ebbc-7a0c-4c84-ab40-99a82449d348" providerId="ADAL" clId="{E9DB75B4-E7FD-4E07-A9F8-4EE776886281}" dt="2023-10-01T22:21:53.527" v="158" actId="478"/>
          <ac:spMkLst>
            <pc:docMk/>
            <pc:sldMk cId="1197323221" sldId="259"/>
            <ac:spMk id="6" creationId="{A404C45D-111C-CB58-8B68-AB3BF147E5A9}"/>
          </ac:spMkLst>
        </pc:spChg>
        <pc:spChg chg="add del mod">
          <ac:chgData name="Niina, Kohei" userId="6502ebbc-7a0c-4c84-ab40-99a82449d348" providerId="ADAL" clId="{E9DB75B4-E7FD-4E07-A9F8-4EE776886281}" dt="2023-10-01T22:21:50.550" v="157" actId="21"/>
          <ac:spMkLst>
            <pc:docMk/>
            <pc:sldMk cId="1197323221" sldId="259"/>
            <ac:spMk id="7" creationId="{E4D06FB8-0D72-BD74-8410-7547440D6CFA}"/>
          </ac:spMkLst>
        </pc:spChg>
        <pc:spChg chg="add mod">
          <ac:chgData name="Niina, Kohei" userId="6502ebbc-7a0c-4c84-ab40-99a82449d348" providerId="ADAL" clId="{E9DB75B4-E7FD-4E07-A9F8-4EE776886281}" dt="2023-10-01T22:24:08.583" v="429" actId="20577"/>
          <ac:spMkLst>
            <pc:docMk/>
            <pc:sldMk cId="1197323221" sldId="259"/>
            <ac:spMk id="8" creationId="{7D4B171C-94AB-344E-2CF2-F4F7D4E1D6FE}"/>
          </ac:spMkLst>
        </pc:spChg>
        <pc:spChg chg="add mod">
          <ac:chgData name="Niina, Kohei" userId="6502ebbc-7a0c-4c84-ab40-99a82449d348" providerId="ADAL" clId="{E9DB75B4-E7FD-4E07-A9F8-4EE776886281}" dt="2023-10-01T22:24:50.428" v="461"/>
          <ac:spMkLst>
            <pc:docMk/>
            <pc:sldMk cId="1197323221" sldId="259"/>
            <ac:spMk id="9" creationId="{93438F8C-4172-1AA4-F885-99FD8ECDC323}"/>
          </ac:spMkLst>
        </pc:spChg>
      </pc:sldChg>
    </pc:docChg>
  </pc:docChgLst>
  <pc:docChgLst>
    <pc:chgData name="Ishii, Yuka" userId="3ba63dc6-6e55-475b-be6b-cac8d79da101" providerId="ADAL" clId="{D6B09878-6340-4477-A6CD-5DD3CE68F9C9}"/>
    <pc:docChg chg="undo redo custSel modSld">
      <pc:chgData name="Ishii, Yuka" userId="3ba63dc6-6e55-475b-be6b-cac8d79da101" providerId="ADAL" clId="{D6B09878-6340-4477-A6CD-5DD3CE68F9C9}" dt="2023-10-11T06:03:43.921" v="486" actId="20577"/>
      <pc:docMkLst>
        <pc:docMk/>
      </pc:docMkLst>
      <pc:sldChg chg="modSp mod">
        <pc:chgData name="Ishii, Yuka" userId="3ba63dc6-6e55-475b-be6b-cac8d79da101" providerId="ADAL" clId="{D6B09878-6340-4477-A6CD-5DD3CE68F9C9}" dt="2023-10-11T06:00:12.338" v="6"/>
        <pc:sldMkLst>
          <pc:docMk/>
          <pc:sldMk cId="3623768495" sldId="257"/>
        </pc:sldMkLst>
        <pc:spChg chg="mod">
          <ac:chgData name="Ishii, Yuka" userId="3ba63dc6-6e55-475b-be6b-cac8d79da101" providerId="ADAL" clId="{D6B09878-6340-4477-A6CD-5DD3CE68F9C9}" dt="2023-10-11T06:00:12.338" v="6"/>
          <ac:spMkLst>
            <pc:docMk/>
            <pc:sldMk cId="3623768495" sldId="257"/>
            <ac:spMk id="45" creationId="{70D074C3-4A3C-3B70-F723-79ABB447E15C}"/>
          </ac:spMkLst>
        </pc:spChg>
      </pc:sldChg>
      <pc:sldChg chg="modSp mod">
        <pc:chgData name="Ishii, Yuka" userId="3ba63dc6-6e55-475b-be6b-cac8d79da101" providerId="ADAL" clId="{D6B09878-6340-4477-A6CD-5DD3CE68F9C9}" dt="2023-10-11T06:03:43.921" v="486" actId="20577"/>
        <pc:sldMkLst>
          <pc:docMk/>
          <pc:sldMk cId="2776085579" sldId="258"/>
        </pc:sldMkLst>
        <pc:spChg chg="mod">
          <ac:chgData name="Ishii, Yuka" userId="3ba63dc6-6e55-475b-be6b-cac8d79da101" providerId="ADAL" clId="{D6B09878-6340-4477-A6CD-5DD3CE68F9C9}" dt="2023-10-11T06:03:43.921" v="486" actId="20577"/>
          <ac:spMkLst>
            <pc:docMk/>
            <pc:sldMk cId="2776085579" sldId="258"/>
            <ac:spMk id="4" creationId="{FD1DBB9A-DE18-A086-AF2C-C0E4C0FFBACC}"/>
          </ac:spMkLst>
        </pc:spChg>
        <pc:spChg chg="mod">
          <ac:chgData name="Ishii, Yuka" userId="3ba63dc6-6e55-475b-be6b-cac8d79da101" providerId="ADAL" clId="{D6B09878-6340-4477-A6CD-5DD3CE68F9C9}" dt="2023-10-11T06:00:17.248" v="7"/>
          <ac:spMkLst>
            <pc:docMk/>
            <pc:sldMk cId="2776085579" sldId="258"/>
            <ac:spMk id="14" creationId="{D2E33561-BA03-3CAF-3E96-8800B79E695B}"/>
          </ac:spMkLst>
        </pc:spChg>
      </pc:sldChg>
    </pc:docChg>
  </pc:docChgLst>
  <pc:docChgLst>
    <pc:chgData name="Ishii, Yuka" userId="3ba63dc6-6e55-475b-be6b-cac8d79da101" providerId="ADAL" clId="{60F03901-7192-42DA-91DA-77990123A64E}"/>
    <pc:docChg chg="undo custSel modSld">
      <pc:chgData name="Ishii, Yuka" userId="3ba63dc6-6e55-475b-be6b-cac8d79da101" providerId="ADAL" clId="{60F03901-7192-42DA-91DA-77990123A64E}" dt="2023-09-12T02:09:04.145" v="216" actId="20577"/>
      <pc:docMkLst>
        <pc:docMk/>
      </pc:docMkLst>
      <pc:sldChg chg="addSp delSp modSp mod">
        <pc:chgData name="Ishii, Yuka" userId="3ba63dc6-6e55-475b-be6b-cac8d79da101" providerId="ADAL" clId="{60F03901-7192-42DA-91DA-77990123A64E}" dt="2023-09-12T02:09:00.009" v="207" actId="20577"/>
        <pc:sldMkLst>
          <pc:docMk/>
          <pc:sldMk cId="3623768495" sldId="257"/>
        </pc:sldMkLst>
        <pc:spChg chg="add del mod">
          <ac:chgData name="Ishii, Yuka" userId="3ba63dc6-6e55-475b-be6b-cac8d79da101" providerId="ADAL" clId="{60F03901-7192-42DA-91DA-77990123A64E}" dt="2023-09-12T00:29:04.780" v="2" actId="478"/>
          <ac:spMkLst>
            <pc:docMk/>
            <pc:sldMk cId="3623768495" sldId="257"/>
            <ac:spMk id="2" creationId="{7B4E4B8D-733B-3A83-F0CD-B34F026388FC}"/>
          </ac:spMkLst>
        </pc:spChg>
        <pc:spChg chg="del mod">
          <ac:chgData name="Ishii, Yuka" userId="3ba63dc6-6e55-475b-be6b-cac8d79da101" providerId="ADAL" clId="{60F03901-7192-42DA-91DA-77990123A64E}" dt="2023-09-12T02:06:25.810" v="135" actId="478"/>
          <ac:spMkLst>
            <pc:docMk/>
            <pc:sldMk cId="3623768495" sldId="257"/>
            <ac:spMk id="2" creationId="{9E93D0CD-B701-4281-6E59-AD618112C336}"/>
          </ac:spMkLst>
        </pc:spChg>
        <pc:spChg chg="mod">
          <ac:chgData name="Ishii, Yuka" userId="3ba63dc6-6e55-475b-be6b-cac8d79da101" providerId="ADAL" clId="{60F03901-7192-42DA-91DA-77990123A64E}" dt="2023-09-12T02:09:00.009" v="207" actId="20577"/>
          <ac:spMkLst>
            <pc:docMk/>
            <pc:sldMk cId="3623768495" sldId="257"/>
            <ac:spMk id="5" creationId="{E5D5A7CE-FE3E-7DBC-DB72-ADB5F8CAB6C6}"/>
          </ac:spMkLst>
        </pc:spChg>
        <pc:spChg chg="mod">
          <ac:chgData name="Ishii, Yuka" userId="3ba63dc6-6e55-475b-be6b-cac8d79da101" providerId="ADAL" clId="{60F03901-7192-42DA-91DA-77990123A64E}" dt="2023-09-12T02:04:29.937" v="74" actId="14100"/>
          <ac:spMkLst>
            <pc:docMk/>
            <pc:sldMk cId="3623768495" sldId="257"/>
            <ac:spMk id="6" creationId="{C6F136DC-8F39-132D-9660-931867FC9D5E}"/>
          </ac:spMkLst>
        </pc:spChg>
        <pc:spChg chg="mod">
          <ac:chgData name="Ishii, Yuka" userId="3ba63dc6-6e55-475b-be6b-cac8d79da101" providerId="ADAL" clId="{60F03901-7192-42DA-91DA-77990123A64E}" dt="2023-09-12T02:07:58.629" v="187" actId="255"/>
          <ac:spMkLst>
            <pc:docMk/>
            <pc:sldMk cId="3623768495" sldId="257"/>
            <ac:spMk id="10" creationId="{333BAE42-4813-B951-CBB5-EF8762343314}"/>
          </ac:spMkLst>
        </pc:spChg>
        <pc:spChg chg="mod">
          <ac:chgData name="Ishii, Yuka" userId="3ba63dc6-6e55-475b-be6b-cac8d79da101" providerId="ADAL" clId="{60F03901-7192-42DA-91DA-77990123A64E}" dt="2023-09-12T02:07:38.543" v="184" actId="255"/>
          <ac:spMkLst>
            <pc:docMk/>
            <pc:sldMk cId="3623768495" sldId="257"/>
            <ac:spMk id="11" creationId="{4EB13487-54D7-42BC-20DA-E86DAAE6BBF3}"/>
          </ac:spMkLst>
        </pc:spChg>
        <pc:spChg chg="mod">
          <ac:chgData name="Ishii, Yuka" userId="3ba63dc6-6e55-475b-be6b-cac8d79da101" providerId="ADAL" clId="{60F03901-7192-42DA-91DA-77990123A64E}" dt="2023-09-12T02:08:14.966" v="191" actId="14100"/>
          <ac:spMkLst>
            <pc:docMk/>
            <pc:sldMk cId="3623768495" sldId="257"/>
            <ac:spMk id="12" creationId="{7950EF54-BF0E-B8C3-3663-661E2231A9B9}"/>
          </ac:spMkLst>
        </pc:spChg>
        <pc:spChg chg="mod">
          <ac:chgData name="Ishii, Yuka" userId="3ba63dc6-6e55-475b-be6b-cac8d79da101" providerId="ADAL" clId="{60F03901-7192-42DA-91DA-77990123A64E}" dt="2023-09-12T02:08:37.754" v="197" actId="14100"/>
          <ac:spMkLst>
            <pc:docMk/>
            <pc:sldMk cId="3623768495" sldId="257"/>
            <ac:spMk id="13" creationId="{F1EC8D81-9769-214E-4F12-B700FE62FDA6}"/>
          </ac:spMkLst>
        </pc:spChg>
        <pc:spChg chg="mod">
          <ac:chgData name="Ishii, Yuka" userId="3ba63dc6-6e55-475b-be6b-cac8d79da101" providerId="ADAL" clId="{60F03901-7192-42DA-91DA-77990123A64E}" dt="2023-09-12T02:07:38.543" v="184" actId="255"/>
          <ac:spMkLst>
            <pc:docMk/>
            <pc:sldMk cId="3623768495" sldId="257"/>
            <ac:spMk id="20" creationId="{7C1E094B-288B-12F7-051D-9960C0C5D76E}"/>
          </ac:spMkLst>
        </pc:spChg>
        <pc:spChg chg="mod">
          <ac:chgData name="Ishii, Yuka" userId="3ba63dc6-6e55-475b-be6b-cac8d79da101" providerId="ADAL" clId="{60F03901-7192-42DA-91DA-77990123A64E}" dt="2023-09-12T02:07:38.543" v="184" actId="255"/>
          <ac:spMkLst>
            <pc:docMk/>
            <pc:sldMk cId="3623768495" sldId="257"/>
            <ac:spMk id="21" creationId="{E10E0497-950E-CA6C-B131-0710C617B25C}"/>
          </ac:spMkLst>
        </pc:spChg>
        <pc:spChg chg="mod">
          <ac:chgData name="Ishii, Yuka" userId="3ba63dc6-6e55-475b-be6b-cac8d79da101" providerId="ADAL" clId="{60F03901-7192-42DA-91DA-77990123A64E}" dt="2023-09-12T02:08:20.112" v="192" actId="255"/>
          <ac:spMkLst>
            <pc:docMk/>
            <pc:sldMk cId="3623768495" sldId="257"/>
            <ac:spMk id="23" creationId="{3C59940E-9A73-BF3C-EAAB-5D2B2DB51B52}"/>
          </ac:spMkLst>
        </pc:spChg>
        <pc:spChg chg="mod">
          <ac:chgData name="Ishii, Yuka" userId="3ba63dc6-6e55-475b-be6b-cac8d79da101" providerId="ADAL" clId="{60F03901-7192-42DA-91DA-77990123A64E}" dt="2023-09-12T02:08:29.867" v="195" actId="255"/>
          <ac:spMkLst>
            <pc:docMk/>
            <pc:sldMk cId="3623768495" sldId="257"/>
            <ac:spMk id="25" creationId="{0E5CE8F3-F8FD-7442-3FA3-94F7FA943A93}"/>
          </ac:spMkLst>
        </pc:spChg>
        <pc:spChg chg="mod">
          <ac:chgData name="Ishii, Yuka" userId="3ba63dc6-6e55-475b-be6b-cac8d79da101" providerId="ADAL" clId="{60F03901-7192-42DA-91DA-77990123A64E}" dt="2023-09-12T02:07:47.399" v="186" actId="255"/>
          <ac:spMkLst>
            <pc:docMk/>
            <pc:sldMk cId="3623768495" sldId="257"/>
            <ac:spMk id="26" creationId="{8B80550C-3137-BAEB-2518-2F49F11C63BA}"/>
          </ac:spMkLst>
        </pc:spChg>
        <pc:spChg chg="mod">
          <ac:chgData name="Ishii, Yuka" userId="3ba63dc6-6e55-475b-be6b-cac8d79da101" providerId="ADAL" clId="{60F03901-7192-42DA-91DA-77990123A64E}" dt="2023-09-12T02:08:23.344" v="193" actId="255"/>
          <ac:spMkLst>
            <pc:docMk/>
            <pc:sldMk cId="3623768495" sldId="257"/>
            <ac:spMk id="32" creationId="{DFDC7D29-7FCF-BA9A-347F-C28E3EB0762B}"/>
          </ac:spMkLst>
        </pc:spChg>
        <pc:spChg chg="mod">
          <ac:chgData name="Ishii, Yuka" userId="3ba63dc6-6e55-475b-be6b-cac8d79da101" providerId="ADAL" clId="{60F03901-7192-42DA-91DA-77990123A64E}" dt="2023-09-12T02:08:26.436" v="194" actId="255"/>
          <ac:spMkLst>
            <pc:docMk/>
            <pc:sldMk cId="3623768495" sldId="257"/>
            <ac:spMk id="34" creationId="{DCFFE26D-8815-6B61-D77D-C88D21D4CC26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36" creationId="{6832629B-D73B-216E-50B7-74568BED9B2D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37" creationId="{ED421858-35F0-1443-F0FD-DE78366EF8E2}"/>
          </ac:spMkLst>
        </pc:spChg>
        <pc:spChg chg="mod">
          <ac:chgData name="Ishii, Yuka" userId="3ba63dc6-6e55-475b-be6b-cac8d79da101" providerId="ADAL" clId="{60F03901-7192-42DA-91DA-77990123A64E}" dt="2023-09-12T02:07:38.543" v="184" actId="255"/>
          <ac:spMkLst>
            <pc:docMk/>
            <pc:sldMk cId="3623768495" sldId="257"/>
            <ac:spMk id="38" creationId="{EE685479-3F5D-F201-FB0C-4BEFA13AF3C6}"/>
          </ac:spMkLst>
        </pc:spChg>
        <pc:spChg chg="mod">
          <ac:chgData name="Ishii, Yuka" userId="3ba63dc6-6e55-475b-be6b-cac8d79da101" providerId="ADAL" clId="{60F03901-7192-42DA-91DA-77990123A64E}" dt="2023-09-12T02:07:43.210" v="185" actId="14100"/>
          <ac:spMkLst>
            <pc:docMk/>
            <pc:sldMk cId="3623768495" sldId="257"/>
            <ac:spMk id="39" creationId="{3C0A55CC-C35C-1DD1-5273-5E67309692D6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42" creationId="{3D55598D-E333-3406-D3A8-8DB163ACA43A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43" creationId="{410B9A7F-784F-AF2F-8AA6-0C4C8E44ECD3}"/>
          </ac:spMkLst>
        </pc:spChg>
        <pc:spChg chg="mod">
          <ac:chgData name="Ishii, Yuka" userId="3ba63dc6-6e55-475b-be6b-cac8d79da101" providerId="ADAL" clId="{60F03901-7192-42DA-91DA-77990123A64E}" dt="2023-09-12T02:07:33.308" v="183" actId="255"/>
          <ac:spMkLst>
            <pc:docMk/>
            <pc:sldMk cId="3623768495" sldId="257"/>
            <ac:spMk id="44" creationId="{234FA5C0-E8E3-8E6A-3B45-8CCF457AE077}"/>
          </ac:spMkLst>
        </pc:spChg>
        <pc:spChg chg="mod ord">
          <ac:chgData name="Ishii, Yuka" userId="3ba63dc6-6e55-475b-be6b-cac8d79da101" providerId="ADAL" clId="{60F03901-7192-42DA-91DA-77990123A64E}" dt="2023-09-12T02:07:25.709" v="182" actId="166"/>
          <ac:spMkLst>
            <pc:docMk/>
            <pc:sldMk cId="3623768495" sldId="257"/>
            <ac:spMk id="45" creationId="{70D074C3-4A3C-3B70-F723-79ABB447E15C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46" creationId="{93ECBE5C-808F-1F14-8FDA-4E454C40B7F5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47" creationId="{A8D928E9-D78A-54F4-4861-6E52A02B4B98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48" creationId="{BD3723BE-2348-2841-9225-ADDC75D27D89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49" creationId="{DA0375DC-2D51-30E3-D1FA-6F8E049091C5}"/>
          </ac:spMkLst>
        </pc:spChg>
        <pc:spChg chg="add mod">
          <ac:chgData name="Ishii, Yuka" userId="3ba63dc6-6e55-475b-be6b-cac8d79da101" providerId="ADAL" clId="{60F03901-7192-42DA-91DA-77990123A64E}" dt="2023-09-12T02:07:16.603" v="180" actId="1038"/>
          <ac:spMkLst>
            <pc:docMk/>
            <pc:sldMk cId="3623768495" sldId="257"/>
            <ac:spMk id="50" creationId="{FDFDB67F-ADA5-82F8-C948-5DEC7F4997A1}"/>
          </ac:spMkLst>
        </pc:spChg>
        <pc:spChg chg="mod">
          <ac:chgData name="Ishii, Yuka" userId="3ba63dc6-6e55-475b-be6b-cac8d79da101" providerId="ADAL" clId="{60F03901-7192-42DA-91DA-77990123A64E}" dt="2023-09-12T02:05:37.268" v="99" actId="20577"/>
          <ac:spMkLst>
            <pc:docMk/>
            <pc:sldMk cId="3623768495" sldId="257"/>
            <ac:spMk id="79" creationId="{7D451FB5-9A8F-5AAE-E3DE-B201C0D3E568}"/>
          </ac:spMkLst>
        </pc:spChg>
        <pc:spChg chg="mod">
          <ac:chgData name="Ishii, Yuka" userId="3ba63dc6-6e55-475b-be6b-cac8d79da101" providerId="ADAL" clId="{60F03901-7192-42DA-91DA-77990123A64E}" dt="2023-09-12T02:05:55.875" v="116" actId="20577"/>
          <ac:spMkLst>
            <pc:docMk/>
            <pc:sldMk cId="3623768495" sldId="257"/>
            <ac:spMk id="83" creationId="{0E18FC96-4ABE-B074-9CEA-3C0FFFDBC996}"/>
          </ac:spMkLst>
        </pc:spChg>
        <pc:spChg chg="mod">
          <ac:chgData name="Ishii, Yuka" userId="3ba63dc6-6e55-475b-be6b-cac8d79da101" providerId="ADAL" clId="{60F03901-7192-42DA-91DA-77990123A64E}" dt="2023-09-12T02:06:03.179" v="134" actId="20577"/>
          <ac:spMkLst>
            <pc:docMk/>
            <pc:sldMk cId="3623768495" sldId="257"/>
            <ac:spMk id="87" creationId="{3CAA6A7C-897C-188A-E071-CD3CE444DE91}"/>
          </ac:spMkLst>
        </pc:spChg>
        <pc:grpChg chg="mod">
          <ac:chgData name="Ishii, Yuka" userId="3ba63dc6-6e55-475b-be6b-cac8d79da101" providerId="ADAL" clId="{60F03901-7192-42DA-91DA-77990123A64E}" dt="2023-09-12T02:07:03.504" v="170" actId="1036"/>
          <ac:grpSpMkLst>
            <pc:docMk/>
            <pc:sldMk cId="3623768495" sldId="257"/>
            <ac:grpSpMk id="3" creationId="{442FA6D2-C275-916F-DD15-F07694C64350}"/>
          </ac:grpSpMkLst>
        </pc:grpChg>
        <pc:grpChg chg="mod">
          <ac:chgData name="Ishii, Yuka" userId="3ba63dc6-6e55-475b-be6b-cac8d79da101" providerId="ADAL" clId="{60F03901-7192-42DA-91DA-77990123A64E}" dt="2023-09-12T02:07:03.504" v="170" actId="1036"/>
          <ac:grpSpMkLst>
            <pc:docMk/>
            <pc:sldMk cId="3623768495" sldId="257"/>
            <ac:grpSpMk id="7" creationId="{169B776D-3E1F-783C-6270-2B216FE85F4F}"/>
          </ac:grpSpMkLst>
        </pc:grpChg>
        <pc:grpChg chg="del mod">
          <ac:chgData name="Ishii, Yuka" userId="3ba63dc6-6e55-475b-be6b-cac8d79da101" providerId="ADAL" clId="{60F03901-7192-42DA-91DA-77990123A64E}" dt="2023-09-12T02:06:25.810" v="135" actId="478"/>
          <ac:grpSpMkLst>
            <pc:docMk/>
            <pc:sldMk cId="3623768495" sldId="257"/>
            <ac:grpSpMk id="14" creationId="{CB071591-E206-AA37-DC77-9E8F93375C03}"/>
          </ac:grpSpMkLst>
        </pc:grpChg>
        <pc:grpChg chg="mod">
          <ac:chgData name="Ishii, Yuka" userId="3ba63dc6-6e55-475b-be6b-cac8d79da101" providerId="ADAL" clId="{60F03901-7192-42DA-91DA-77990123A64E}" dt="2023-09-12T02:04:38.290" v="76" actId="14100"/>
          <ac:grpSpMkLst>
            <pc:docMk/>
            <pc:sldMk cId="3623768495" sldId="257"/>
            <ac:grpSpMk id="15" creationId="{A5956028-0FD9-AFE5-11B3-98A7A60A9F05}"/>
          </ac:grpSpMkLst>
        </pc:grpChg>
        <pc:grpChg chg="mod">
          <ac:chgData name="Ishii, Yuka" userId="3ba63dc6-6e55-475b-be6b-cac8d79da101" providerId="ADAL" clId="{60F03901-7192-42DA-91DA-77990123A64E}" dt="2023-09-12T02:04:23.207" v="73" actId="1036"/>
          <ac:grpSpMkLst>
            <pc:docMk/>
            <pc:sldMk cId="3623768495" sldId="257"/>
            <ac:grpSpMk id="16" creationId="{9EBDF3EA-82D3-8FC7-0ABB-C5E76C178DBE}"/>
          </ac:grpSpMkLst>
        </pc:grpChg>
        <pc:grpChg chg="mod">
          <ac:chgData name="Ishii, Yuka" userId="3ba63dc6-6e55-475b-be6b-cac8d79da101" providerId="ADAL" clId="{60F03901-7192-42DA-91DA-77990123A64E}" dt="2023-09-12T02:04:23.207" v="73" actId="1036"/>
          <ac:grpSpMkLst>
            <pc:docMk/>
            <pc:sldMk cId="3623768495" sldId="257"/>
            <ac:grpSpMk id="17" creationId="{38CD38FD-A48C-4FBB-C2D2-0446D490C640}"/>
          </ac:grpSpMkLst>
        </pc:grpChg>
        <pc:grpChg chg="mod">
          <ac:chgData name="Ishii, Yuka" userId="3ba63dc6-6e55-475b-be6b-cac8d79da101" providerId="ADAL" clId="{60F03901-7192-42DA-91DA-77990123A64E}" dt="2023-09-12T02:04:23.207" v="73" actId="1036"/>
          <ac:grpSpMkLst>
            <pc:docMk/>
            <pc:sldMk cId="3623768495" sldId="257"/>
            <ac:grpSpMk id="18" creationId="{8D6EA6B2-94E0-64A2-104E-18A81CA5B547}"/>
          </ac:grpSpMkLst>
        </pc:grpChg>
        <pc:grpChg chg="mod">
          <ac:chgData name="Ishii, Yuka" userId="3ba63dc6-6e55-475b-be6b-cac8d79da101" providerId="ADAL" clId="{60F03901-7192-42DA-91DA-77990123A64E}" dt="2023-09-12T02:07:03.504" v="170" actId="1036"/>
          <ac:grpSpMkLst>
            <pc:docMk/>
            <pc:sldMk cId="3623768495" sldId="257"/>
            <ac:grpSpMk id="19" creationId="{D6B8F486-0EE2-C35D-8BC3-A9E2D0B74C53}"/>
          </ac:grpSpMkLst>
        </pc:grpChg>
        <pc:grpChg chg="add mod">
          <ac:chgData name="Ishii, Yuka" userId="3ba63dc6-6e55-475b-be6b-cac8d79da101" providerId="ADAL" clId="{60F03901-7192-42DA-91DA-77990123A64E}" dt="2023-09-12T02:07:12.612" v="172" actId="14100"/>
          <ac:grpSpMkLst>
            <pc:docMk/>
            <pc:sldMk cId="3623768495" sldId="257"/>
            <ac:grpSpMk id="28" creationId="{3000940D-DE7F-6809-3BEE-B540827F00B7}"/>
          </ac:grpSpMkLst>
        </pc:grpChg>
        <pc:grpChg chg="mod">
          <ac:chgData name="Ishii, Yuka" userId="3ba63dc6-6e55-475b-be6b-cac8d79da101" providerId="ADAL" clId="{60F03901-7192-42DA-91DA-77990123A64E}" dt="2023-09-12T02:06:26.124" v="136"/>
          <ac:grpSpMkLst>
            <pc:docMk/>
            <pc:sldMk cId="3623768495" sldId="257"/>
            <ac:grpSpMk id="29" creationId="{88A7870A-A3EF-D815-91A0-6EE353211F6F}"/>
          </ac:grpSpMkLst>
        </pc:grpChg>
        <pc:grpChg chg="mod">
          <ac:chgData name="Ishii, Yuka" userId="3ba63dc6-6e55-475b-be6b-cac8d79da101" providerId="ADAL" clId="{60F03901-7192-42DA-91DA-77990123A64E}" dt="2023-09-12T02:06:26.124" v="136"/>
          <ac:grpSpMkLst>
            <pc:docMk/>
            <pc:sldMk cId="3623768495" sldId="257"/>
            <ac:grpSpMk id="30" creationId="{5386C17D-209D-848E-05A1-A35B8CB26F7C}"/>
          </ac:grpSpMkLst>
        </pc:grpChg>
        <pc:grpChg chg="mod">
          <ac:chgData name="Ishii, Yuka" userId="3ba63dc6-6e55-475b-be6b-cac8d79da101" providerId="ADAL" clId="{60F03901-7192-42DA-91DA-77990123A64E}" dt="2023-09-12T02:06:26.124" v="136"/>
          <ac:grpSpMkLst>
            <pc:docMk/>
            <pc:sldMk cId="3623768495" sldId="257"/>
            <ac:grpSpMk id="35" creationId="{0CE88530-5F71-1991-2A90-3262B95AEFE9}"/>
          </ac:grpSpMkLst>
        </pc:grpChg>
        <pc:grpChg chg="mod">
          <ac:chgData name="Ishii, Yuka" userId="3ba63dc6-6e55-475b-be6b-cac8d79da101" providerId="ADAL" clId="{60F03901-7192-42DA-91DA-77990123A64E}" dt="2023-09-12T02:06:26.124" v="136"/>
          <ac:grpSpMkLst>
            <pc:docMk/>
            <pc:sldMk cId="3623768495" sldId="257"/>
            <ac:grpSpMk id="40" creationId="{4D8EAB21-8264-EC75-78AF-F7BC4ED10E47}"/>
          </ac:grpSpMkLst>
        </pc:grpChg>
        <pc:grpChg chg="mod">
          <ac:chgData name="Ishii, Yuka" userId="3ba63dc6-6e55-475b-be6b-cac8d79da101" providerId="ADAL" clId="{60F03901-7192-42DA-91DA-77990123A64E}" dt="2023-09-12T02:06:26.124" v="136"/>
          <ac:grpSpMkLst>
            <pc:docMk/>
            <pc:sldMk cId="3623768495" sldId="257"/>
            <ac:grpSpMk id="41" creationId="{455ED7F2-DDE7-B3B1-2600-C661A97869ED}"/>
          </ac:grpSpMkLst>
        </pc:grpChg>
      </pc:sldChg>
      <pc:sldChg chg="modSp mod">
        <pc:chgData name="Ishii, Yuka" userId="3ba63dc6-6e55-475b-be6b-cac8d79da101" providerId="ADAL" clId="{60F03901-7192-42DA-91DA-77990123A64E}" dt="2023-09-12T02:09:04.145" v="216" actId="20577"/>
        <pc:sldMkLst>
          <pc:docMk/>
          <pc:sldMk cId="665979446" sldId="259"/>
        </pc:sldMkLst>
        <pc:spChg chg="mod">
          <ac:chgData name="Ishii, Yuka" userId="3ba63dc6-6e55-475b-be6b-cac8d79da101" providerId="ADAL" clId="{60F03901-7192-42DA-91DA-77990123A64E}" dt="2023-09-12T02:09:04.145" v="216" actId="20577"/>
          <ac:spMkLst>
            <pc:docMk/>
            <pc:sldMk cId="665979446" sldId="259"/>
            <ac:spMk id="47" creationId="{2D2DCDBF-E8D4-10E9-A343-77AFDA0DBDFE}"/>
          </ac:spMkLst>
        </pc:spChg>
      </pc:sldChg>
    </pc:docChg>
  </pc:docChgLst>
  <pc:docChgLst>
    <pc:chgData name="Kobayashi, Aoi" userId="ef58220d-27c0-4129-aee6-d47e1f114e2f" providerId="ADAL" clId="{D3A09B73-12B4-4C9B-9D0D-32056B821987}"/>
    <pc:docChg chg="undo custSel addSld delSld modSld sldOrd modMainMaster addSection modSection modNotesMaster">
      <pc:chgData name="Kobayashi, Aoi" userId="ef58220d-27c0-4129-aee6-d47e1f114e2f" providerId="ADAL" clId="{D3A09B73-12B4-4C9B-9D0D-32056B821987}" dt="2023-09-12T11:03:26.301" v="240" actId="17846"/>
      <pc:docMkLst>
        <pc:docMk/>
      </pc:docMkLst>
      <pc:sldChg chg="addSp modSp add del mod ord modShow">
        <pc:chgData name="Kobayashi, Aoi" userId="ef58220d-27c0-4129-aee6-d47e1f114e2f" providerId="ADAL" clId="{D3A09B73-12B4-4C9B-9D0D-32056B821987}" dt="2023-09-12T08:48:07.553" v="238" actId="729"/>
        <pc:sldMkLst>
          <pc:docMk/>
          <pc:sldMk cId="4217518824" sldId="256"/>
        </pc:sldMkLst>
        <pc:spChg chg="add mod">
          <ac:chgData name="Kobayashi, Aoi" userId="ef58220d-27c0-4129-aee6-d47e1f114e2f" providerId="ADAL" clId="{D3A09B73-12B4-4C9B-9D0D-32056B821987}" dt="2023-09-12T01:10:42.440" v="235" actId="20577"/>
          <ac:spMkLst>
            <pc:docMk/>
            <pc:sldMk cId="4217518824" sldId="256"/>
            <ac:spMk id="2" creationId="{9AA6F127-01F4-F91E-CFDD-3E07BEF16CE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0" creationId="{5CFCCC31-6150-885C-6169-9C04F2F04A84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1" creationId="{3C70D5B9-F5EE-3F06-5294-94A8956E7E5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2" creationId="{9BC8B6C3-E153-7A7E-A5BB-FF8A5F072C5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3" creationId="{7314A1E2-C8EB-4FC1-E423-0523C5AB070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4" creationId="{5DD67B26-64F4-0208-6A25-92B9AC7C87FD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5" creationId="{0F57BC6C-B41B-D234-99CE-164F7B8801F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6" creationId="{1B8C9176-4617-8E6B-0930-3EFF4587588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7" creationId="{BB87D10C-4CF5-84BC-1F91-35758E9BAA8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49" creationId="{6E56B2CB-BA0F-76CA-4425-7E1718BC0BF2}"/>
          </ac:spMkLst>
        </pc:s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4217518824" sldId="256"/>
            <ac:grpSpMk id="50" creationId="{7CBECAA0-E4D6-7BFB-F3AD-C5ED0A647CDA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4217518824" sldId="256"/>
            <ac:grpSpMk id="51" creationId="{C6D8DD20-5881-707A-06AA-FE88B8AD8846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4217518824" sldId="256"/>
            <ac:grpSpMk id="52" creationId="{C8C4AF2C-0A67-3934-45F5-768F547A9DC5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4217518824" sldId="256"/>
            <ac:grpSpMk id="54" creationId="{76141E8B-5F4C-6535-56F3-04608E1EC063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4217518824" sldId="256"/>
            <ac:grpSpMk id="55" creationId="{F119B334-0C6E-3A14-623D-2A74CC956DB2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4217518824" sldId="256"/>
            <ac:grpSpMk id="56" creationId="{0D44A8D9-4B00-38EE-D4FD-AB2A3E982FCD}"/>
          </ac:grpSpMkLst>
        </pc:grpChg>
        <pc:graphicFrameChg chg="mod">
          <ac:chgData name="Kobayashi, Aoi" userId="ef58220d-27c0-4129-aee6-d47e1f114e2f" providerId="ADAL" clId="{D3A09B73-12B4-4C9B-9D0D-32056B821987}" dt="2023-09-12T01:08:13.403" v="208"/>
          <ac:graphicFrameMkLst>
            <pc:docMk/>
            <pc:sldMk cId="4217518824" sldId="256"/>
            <ac:graphicFrameMk id="58" creationId="{8A53748E-D9A4-453C-95D6-9A4C63AE223E}"/>
          </ac:graphicFrameMkLst>
        </pc:graphicFrameChg>
      </pc:sldChg>
      <pc:sldChg chg="addSp modSp mod ord modNotes">
        <pc:chgData name="Kobayashi, Aoi" userId="ef58220d-27c0-4129-aee6-d47e1f114e2f" providerId="ADAL" clId="{D3A09B73-12B4-4C9B-9D0D-32056B821987}" dt="2023-09-12T01:10:36.592" v="231"/>
        <pc:sldMkLst>
          <pc:docMk/>
          <pc:sldMk cId="3623768495" sldId="257"/>
        </pc:sldMkLst>
        <pc:spChg chg="add 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" creationId="{9E93D0CD-B701-4281-6E59-AD618112C33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4" creationId="{FD1DBB9A-DE18-A086-AF2C-C0E4C0FFBAC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5" creationId="{E5D5A7CE-FE3E-7DBC-DB72-ADB5F8CAB6C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6" creationId="{C6F136DC-8F39-132D-9660-931867FC9D5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" creationId="{E59311C3-B272-E00A-06B3-BB9BF283EBE0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9" creationId="{706E7B8F-E9EC-3C64-B5A7-0FF425D9437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10" creationId="{333BAE42-4813-B951-CBB5-EF8762343314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11" creationId="{4EB13487-54D7-42BC-20DA-E86DAAE6BBF3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12" creationId="{7950EF54-BF0E-B8C3-3663-661E2231A9B9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13" creationId="{F1EC8D81-9769-214E-4F12-B700FE62FDA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0" creationId="{7C1E094B-288B-12F7-051D-9960C0C5D76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1" creationId="{E10E0497-950E-CA6C-B131-0710C617B25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2" creationId="{F579E50D-4425-B556-3FE3-CA99EDF54B85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3" creationId="{3C59940E-9A73-BF3C-EAAB-5D2B2DB51B5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4" creationId="{BA8A7158-B5BB-6C66-5E38-6552AEF4A95D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5" creationId="{0E5CE8F3-F8FD-7442-3FA3-94F7FA943A93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6" creationId="{8B80550C-3137-BAEB-2518-2F49F11C63BA}"/>
          </ac:spMkLst>
        </pc:spChg>
        <pc:spChg chg="add mod">
          <ac:chgData name="Kobayashi, Aoi" userId="ef58220d-27c0-4129-aee6-d47e1f114e2f" providerId="ADAL" clId="{D3A09B73-12B4-4C9B-9D0D-32056B821987}" dt="2023-09-12T01:10:36.592" v="231"/>
          <ac:spMkLst>
            <pc:docMk/>
            <pc:sldMk cId="3623768495" sldId="257"/>
            <ac:spMk id="27" creationId="{812F9E69-2D09-709A-49EF-33BA21D81318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31" creationId="{8441653C-2B4D-018F-888F-D8C9444D486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32" creationId="{DFDC7D29-7FCF-BA9A-347F-C28E3EB0762B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33" creationId="{4E9BE460-17B4-9ADA-7366-AC97AE409470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34" creationId="{DCFFE26D-8815-6B61-D77D-C88D21D4CC2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38" creationId="{EE685479-3F5D-F201-FB0C-4BEFA13AF3C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39" creationId="{3C0A55CC-C35C-1DD1-5273-5E67309692D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44" creationId="{234FA5C0-E8E3-8E6A-3B45-8CCF457AE077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45" creationId="{70D074C3-4A3C-3B70-F723-79ABB447E15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78" creationId="{1297F381-7864-8274-6F6A-9772E68B088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79" creationId="{7D451FB5-9A8F-5AAE-E3DE-B201C0D3E568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0" creationId="{242A27F1-EA5A-669F-46BB-B4900688FC99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1" creationId="{75132069-6214-35DC-0484-1EE61482B001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2" creationId="{BEF68B6A-4A61-D549-5FFC-42D14BB655F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3" creationId="{0E18FC96-4ABE-B074-9CEA-3C0FFFDBC99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6" creationId="{382ACDB9-C2B6-045D-F391-D23C1724F39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7" creationId="{3CAA6A7C-897C-188A-E071-CD3CE444DE91}"/>
          </ac:spMkLst>
        </pc:s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3" creationId="{442FA6D2-C275-916F-DD15-F07694C64350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7" creationId="{169B776D-3E1F-783C-6270-2B216FE85F4F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14" creationId="{CB071591-E206-AA37-DC77-9E8F93375C03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15" creationId="{A5956028-0FD9-AFE5-11B3-98A7A60A9F05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16" creationId="{9EBDF3EA-82D3-8FC7-0ABB-C5E76C178DBE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17" creationId="{38CD38FD-A48C-4FBB-C2D2-0446D490C640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18" creationId="{8D6EA6B2-94E0-64A2-104E-18A81CA5B547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19" creationId="{D6B8F486-0EE2-C35D-8BC3-A9E2D0B74C53}"/>
          </ac:grpSpMkLst>
        </pc:grpChg>
      </pc:sldChg>
      <pc:sldChg chg="modSp add del modNotes">
        <pc:chgData name="Kobayashi, Aoi" userId="ef58220d-27c0-4129-aee6-d47e1f114e2f" providerId="ADAL" clId="{D3A09B73-12B4-4C9B-9D0D-32056B821987}" dt="2023-09-12T01:10:48.785" v="236" actId="2696"/>
        <pc:sldMkLst>
          <pc:docMk/>
          <pc:sldMk cId="946310680" sldId="258"/>
        </pc:sldMkLst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" creationId="{9E93D0CD-B701-4281-6E59-AD618112C33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4" creationId="{FD1DBB9A-DE18-A086-AF2C-C0E4C0FFBAC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5" creationId="{E5D5A7CE-FE3E-7DBC-DB72-ADB5F8CAB6C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6" creationId="{C6F136DC-8F39-132D-9660-931867FC9D5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" creationId="{E59311C3-B272-E00A-06B3-BB9BF283EBE0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9" creationId="{706E7B8F-E9EC-3C64-B5A7-0FF425D9437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10" creationId="{333BAE42-4813-B951-CBB5-EF8762343314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11" creationId="{4EB13487-54D7-42BC-20DA-E86DAAE6BBF3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12" creationId="{7950EF54-BF0E-B8C3-3663-661E2231A9B9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13" creationId="{F1EC8D81-9769-214E-4F12-B700FE62FDA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0" creationId="{7C1E094B-288B-12F7-051D-9960C0C5D76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1" creationId="{E10E0497-950E-CA6C-B131-0710C617B25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2" creationId="{F579E50D-4425-B556-3FE3-CA99EDF54B85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3" creationId="{3C59940E-9A73-BF3C-EAAB-5D2B2DB51B5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4" creationId="{BA8A7158-B5BB-6C66-5E38-6552AEF4A95D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5" creationId="{0E5CE8F3-F8FD-7442-3FA3-94F7FA943A93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6" creationId="{8B80550C-3137-BAEB-2518-2F49F11C63B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31" creationId="{8441653C-2B4D-018F-888F-D8C9444D486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32" creationId="{DFDC7D29-7FCF-BA9A-347F-C28E3EB0762B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33" creationId="{4E9BE460-17B4-9ADA-7366-AC97AE409470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34" creationId="{DCFFE26D-8815-6B61-D77D-C88D21D4CC2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38" creationId="{EE685479-3F5D-F201-FB0C-4BEFA13AF3C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39" creationId="{3C0A55CC-C35C-1DD1-5273-5E67309692D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44" creationId="{234FA5C0-E8E3-8E6A-3B45-8CCF457AE077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45" creationId="{70D074C3-4A3C-3B70-F723-79ABB447E15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78" creationId="{1297F381-7864-8274-6F6A-9772E68B088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79" creationId="{7D451FB5-9A8F-5AAE-E3DE-B201C0D3E568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0" creationId="{242A27F1-EA5A-669F-46BB-B4900688FC99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1" creationId="{75132069-6214-35DC-0484-1EE61482B001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2" creationId="{BEF68B6A-4A61-D549-5FFC-42D14BB655F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3" creationId="{0E18FC96-4ABE-B074-9CEA-3C0FFFDBC99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6" creationId="{382ACDB9-C2B6-045D-F391-D23C1724F39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7" creationId="{3CAA6A7C-897C-188A-E071-CD3CE444DE91}"/>
          </ac:spMkLst>
        </pc:s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3" creationId="{442FA6D2-C275-916F-DD15-F07694C64350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7" creationId="{169B776D-3E1F-783C-6270-2B216FE85F4F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14" creationId="{CB071591-E206-AA37-DC77-9E8F93375C03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15" creationId="{A5956028-0FD9-AFE5-11B3-98A7A60A9F05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16" creationId="{9EBDF3EA-82D3-8FC7-0ABB-C5E76C178DBE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17" creationId="{38CD38FD-A48C-4FBB-C2D2-0446D490C640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18" creationId="{8D6EA6B2-94E0-64A2-104E-18A81CA5B547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19" creationId="{D6B8F486-0EE2-C35D-8BC3-A9E2D0B74C53}"/>
          </ac:grpSpMkLst>
        </pc:grpChg>
      </pc:sldChg>
      <pc:sldChg chg="addSp modSp add del mod ord modShow">
        <pc:chgData name="Kobayashi, Aoi" userId="ef58220d-27c0-4129-aee6-d47e1f114e2f" providerId="ADAL" clId="{D3A09B73-12B4-4C9B-9D0D-32056B821987}" dt="2023-09-12T08:48:04.373" v="237" actId="729"/>
        <pc:sldMkLst>
          <pc:docMk/>
          <pc:sldMk cId="665979446" sldId="259"/>
        </pc:sldMkLst>
        <pc:spChg chg="add mod">
          <ac:chgData name="Kobayashi, Aoi" userId="ef58220d-27c0-4129-aee6-d47e1f114e2f" providerId="ADAL" clId="{D3A09B73-12B4-4C9B-9D0D-32056B821987}" dt="2023-09-12T01:10:39.354" v="233" actId="20577"/>
          <ac:spMkLst>
            <pc:docMk/>
            <pc:sldMk cId="665979446" sldId="259"/>
            <ac:spMk id="3" creationId="{E2C3ADF6-C8F5-8955-9BB8-093FCC0F6B2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10" creationId="{A5C09DC5-2CD2-98A6-B967-97877AC280FB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12" creationId="{EB9B4D74-9F02-A734-8333-0A6044EC5D3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13" creationId="{7F7BAF80-8231-7579-17FA-71D8336433D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14" creationId="{0BD99915-DB88-734B-67DE-D772A225A581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18" creationId="{D5C018F8-7E89-4412-4BB9-CC9A79097AE3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0" creationId="{5CFCCC31-6150-885C-6169-9C04F2F04A84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1" creationId="{3C70D5B9-F5EE-3F06-5294-94A8956E7E5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2" creationId="{9BC8B6C3-E153-7A7E-A5BB-FF8A5F072C5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3" creationId="{7314A1E2-C8EB-4FC1-E423-0523C5AB070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4" creationId="{5DD67B26-64F4-0208-6A25-92B9AC7C87FD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5" creationId="{0F57BC6C-B41B-D234-99CE-164F7B8801F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6" creationId="{1B8C9176-4617-8E6B-0930-3EFF4587588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7" creationId="{BB87D10C-4CF5-84BC-1F91-35758E9BAA8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8" creationId="{AA11F1E8-83E7-474A-6968-6C8A4FBB3D4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9" creationId="{DE32E89C-245E-7793-DE10-DF2F22F2153D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1" creationId="{19CFC668-5570-471D-AF90-193AA0CE7B89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2" creationId="{6429CD93-65F7-DE8E-DE99-95DF27C20CA3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4" creationId="{14939121-861A-E39E-4033-35135F26690D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5" creationId="{4F00B219-E94B-1ACA-D9AB-01E4739C883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6" creationId="{4586C426-990E-6BC8-2337-EEF2A5BC45B4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8" creationId="{CB6288B1-B52A-88CA-950E-84FC829A5388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9" creationId="{2351C219-82CE-92D3-5344-FFC1A65A5838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1" creationId="{46B8841B-7E1B-69DA-B50C-E13366FB9CD8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2" creationId="{8975F81A-F946-B699-9D8E-8C8262F6040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3" creationId="{C97204D9-1E62-79E6-72E4-35B46893878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4" creationId="{4772C88F-19F9-3492-870F-6907C0991647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6" creationId="{91631E9B-453B-86E7-ED4B-26A47263E8B4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7" creationId="{2D2DCDBF-E8D4-10E9-A343-77AFDA0DBDF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8" creationId="{B15FE2E2-D7DA-3003-F659-07311A4BC5D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9" creationId="{6E56B2CB-BA0F-76CA-4425-7E1718BC0BF2}"/>
          </ac:spMkLst>
        </pc:s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2" creationId="{1F7E5D6B-4A7A-4A07-D3D1-EB76F2F84FB2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11" creationId="{F9A0D180-800F-A0D1-33DF-F6E952455902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30" creationId="{B8FC97E2-7E54-7377-23D3-3913226FF277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33" creationId="{B2EC8D34-C44B-EC65-2514-D831B1C4F363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37" creationId="{343EF850-7234-226F-ACC9-3E2AE03E6D5C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40" creationId="{C40F51BB-20C8-834E-2177-C66F83B8B8CF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45" creationId="{A6B30907-FE01-B549-5DAD-F44CB3A61191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50" creationId="{7CBECAA0-E4D6-7BFB-F3AD-C5ED0A647CDA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51" creationId="{C6D8DD20-5881-707A-06AA-FE88B8AD8846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52" creationId="{C8C4AF2C-0A67-3934-45F5-768F547A9DC5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54" creationId="{76141E8B-5F4C-6535-56F3-04608E1EC063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55" creationId="{F119B334-0C6E-3A14-623D-2A74CC956DB2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56" creationId="{0D44A8D9-4B00-38EE-D4FD-AB2A3E982FCD}"/>
          </ac:grpSpMkLst>
        </pc:grpChg>
      </pc:sldChg>
      <pc:sldMasterChg chg="modSp modSldLayout">
        <pc:chgData name="Kobayashi, Aoi" userId="ef58220d-27c0-4129-aee6-d47e1f114e2f" providerId="ADAL" clId="{D3A09B73-12B4-4C9B-9D0D-32056B821987}" dt="2023-09-12T01:08:13.403" v="208"/>
        <pc:sldMasterMkLst>
          <pc:docMk/>
          <pc:sldMasterMk cId="2615484843" sldId="2147483648"/>
        </pc:sldMasterMkLst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asterMk cId="2615484843" sldId="2147483648"/>
            <ac:spMk id="2" creationId="{BC1BA79D-71A4-C399-8883-8F3ECF6E27E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asterMk cId="2615484843" sldId="2147483648"/>
            <ac:spMk id="3" creationId="{37FF2010-3B41-ED7D-2A17-17DBF7585DD0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asterMk cId="2615484843" sldId="2147483648"/>
            <ac:spMk id="4" creationId="{D03E1BFB-B55E-8ADD-1303-F721FB57AE6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asterMk cId="2615484843" sldId="2147483648"/>
            <ac:spMk id="5" creationId="{AFCAFD30-9487-081C-CB6F-6539EA3B4F9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asterMk cId="2615484843" sldId="2147483648"/>
            <ac:spMk id="6" creationId="{6D295003-F551-F606-0EFF-6894471ED3A2}"/>
          </ac:spMkLst>
        </pc:sp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3234221307" sldId="2147483649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234221307" sldId="2147483649"/>
              <ac:spMk id="2" creationId="{167D3204-9B59-C9F6-9416-308A4729C8A1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234221307" sldId="2147483649"/>
              <ac:spMk id="3" creationId="{3BC41CBD-5848-C0E4-5087-6BD340017988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2588040774" sldId="2147483651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2588040774" sldId="2147483651"/>
              <ac:spMk id="2" creationId="{FC8E3B92-6D60-5D9E-D504-ADA2BC05FF92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2588040774" sldId="2147483651"/>
              <ac:spMk id="3" creationId="{2A6EB534-D1AD-D6E1-0EFF-73224516CEE3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3242792600" sldId="2147483652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242792600" sldId="2147483652"/>
              <ac:spMk id="3" creationId="{86943AEA-4CC8-60E8-B99D-DFBCBCFF6A03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242792600" sldId="2147483652"/>
              <ac:spMk id="4" creationId="{C451C726-2C8C-48B2-7BB3-4B9C445455BE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3938128628" sldId="2147483653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938128628" sldId="2147483653"/>
              <ac:spMk id="2" creationId="{3677624C-8A31-0494-78D7-ACE43A262EC2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938128628" sldId="2147483653"/>
              <ac:spMk id="3" creationId="{93F4CFA8-9144-ECF9-A174-2B9ADA8F5CDB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938128628" sldId="2147483653"/>
              <ac:spMk id="4" creationId="{15584EF8-5863-AC27-E72E-18B057D064C7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938128628" sldId="2147483653"/>
              <ac:spMk id="5" creationId="{BDB7088F-CB0D-24A6-0056-EEB6C0B6B9CB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938128628" sldId="2147483653"/>
              <ac:spMk id="6" creationId="{97039CD8-7E50-4F13-1CBF-FCA86F510C62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74147088" sldId="2147483656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74147088" sldId="2147483656"/>
              <ac:spMk id="2" creationId="{28C62062-E67B-9494-6123-1FDF833B5528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74147088" sldId="2147483656"/>
              <ac:spMk id="3" creationId="{F7302E84-A543-F058-52A1-019E48584472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74147088" sldId="2147483656"/>
              <ac:spMk id="4" creationId="{19CF7291-D2FC-39FE-DBE5-0466C299336A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2953677135" sldId="2147483657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2953677135" sldId="2147483657"/>
              <ac:spMk id="2" creationId="{61D8392C-6367-F3AD-F791-8302A121E72C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2953677135" sldId="2147483657"/>
              <ac:spMk id="3" creationId="{ABFDF34D-7C0F-1F80-34A5-FDE9FE1BCEF7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2953677135" sldId="2147483657"/>
              <ac:spMk id="4" creationId="{95E5B26D-C5CF-6E0C-3682-FBD7D2424F21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1171713668" sldId="2147483659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1171713668" sldId="2147483659"/>
              <ac:spMk id="2" creationId="{F9BD3DFF-C41A-D758-88B8-AEE2541D8D0B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1171713668" sldId="2147483659"/>
              <ac:spMk id="3" creationId="{2B5BB3C6-C7FD-9614-50F2-1C6A2427EFB7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1589954239" sldId="2147483660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1589954239" sldId="2147483660"/>
              <ac:spMk id="9" creationId="{00000000-0000-0000-0000-000000000000}"/>
            </ac:spMkLst>
          </pc:spChg>
          <pc:graphicFrameChg chg="mod">
            <ac:chgData name="Kobayashi, Aoi" userId="ef58220d-27c0-4129-aee6-d47e1f114e2f" providerId="ADAL" clId="{D3A09B73-12B4-4C9B-9D0D-32056B821987}" dt="2023-09-12T01:08:13.403" v="208"/>
            <ac:graphicFrameMkLst>
              <pc:docMk/>
              <pc:sldMasterMk cId="2615484843" sldId="2147483648"/>
              <pc:sldLayoutMk cId="1589954239" sldId="2147483660"/>
              <ac:graphicFrameMk id="2" creationId="{00000000-0000-0000-0000-000000000000}"/>
            </ac:graphicFrameMkLst>
          </pc:graphicFrameChg>
        </pc:sldLayoutChg>
      </pc:sldMasterChg>
    </pc:docChg>
  </pc:docChgLst>
  <pc:docChgLst>
    <pc:chgData name="Yamada, Keiko" userId="69b154d9-a872-4a88-9103-d595d1f3646d" providerId="ADAL" clId="{527A056F-042A-4116-B7FF-BDB5312E9BCD}"/>
    <pc:docChg chg="undo custSel modSld">
      <pc:chgData name="Yamada, Keiko" userId="69b154d9-a872-4a88-9103-d595d1f3646d" providerId="ADAL" clId="{527A056F-042A-4116-B7FF-BDB5312E9BCD}" dt="2023-09-12T08:33:59.489" v="111" actId="14100"/>
      <pc:docMkLst>
        <pc:docMk/>
      </pc:docMkLst>
      <pc:sldChg chg="modSp mod">
        <pc:chgData name="Yamada, Keiko" userId="69b154d9-a872-4a88-9103-d595d1f3646d" providerId="ADAL" clId="{527A056F-042A-4116-B7FF-BDB5312E9BCD}" dt="2023-09-12T08:33:31.636" v="82" actId="1036"/>
        <pc:sldMkLst>
          <pc:docMk/>
          <pc:sldMk cId="3623768495" sldId="257"/>
        </pc:sldMkLst>
        <pc:spChg chg="mod">
          <ac:chgData name="Yamada, Keiko" userId="69b154d9-a872-4a88-9103-d595d1f3646d" providerId="ADAL" clId="{527A056F-042A-4116-B7FF-BDB5312E9BCD}" dt="2023-09-12T08:32:21.861" v="37" actId="20577"/>
          <ac:spMkLst>
            <pc:docMk/>
            <pc:sldMk cId="3623768495" sldId="257"/>
            <ac:spMk id="12" creationId="{7950EF54-BF0E-B8C3-3663-661E2231A9B9}"/>
          </ac:spMkLst>
        </pc:spChg>
        <pc:spChg chg="mod">
          <ac:chgData name="Yamada, Keiko" userId="69b154d9-a872-4a88-9103-d595d1f3646d" providerId="ADAL" clId="{527A056F-042A-4116-B7FF-BDB5312E9BCD}" dt="2023-09-12T08:33:19.279" v="57" actId="1076"/>
          <ac:spMkLst>
            <pc:docMk/>
            <pc:sldMk cId="3623768495" sldId="257"/>
            <ac:spMk id="26" creationId="{8B80550C-3137-BAEB-2518-2F49F11C63BA}"/>
          </ac:spMkLst>
        </pc:spChg>
        <pc:spChg chg="mod">
          <ac:chgData name="Yamada, Keiko" userId="69b154d9-a872-4a88-9103-d595d1f3646d" providerId="ADAL" clId="{527A056F-042A-4116-B7FF-BDB5312E9BCD}" dt="2023-09-12T08:33:31.636" v="82" actId="1036"/>
          <ac:spMkLst>
            <pc:docMk/>
            <pc:sldMk cId="3623768495" sldId="257"/>
            <ac:spMk id="33" creationId="{4E9BE460-17B4-9ADA-7366-AC97AE409470}"/>
          </ac:spMkLst>
        </pc:spChg>
        <pc:spChg chg="mod">
          <ac:chgData name="Yamada, Keiko" userId="69b154d9-a872-4a88-9103-d595d1f3646d" providerId="ADAL" clId="{527A056F-042A-4116-B7FF-BDB5312E9BCD}" dt="2023-09-12T08:33:31.636" v="82" actId="1036"/>
          <ac:spMkLst>
            <pc:docMk/>
            <pc:sldMk cId="3623768495" sldId="257"/>
            <ac:spMk id="34" creationId="{DCFFE26D-8815-6B61-D77D-C88D21D4CC26}"/>
          </ac:spMkLst>
        </pc:spChg>
        <pc:grpChg chg="mod">
          <ac:chgData name="Yamada, Keiko" userId="69b154d9-a872-4a88-9103-d595d1f3646d" providerId="ADAL" clId="{527A056F-042A-4116-B7FF-BDB5312E9BCD}" dt="2023-09-12T08:33:16.753" v="56" actId="14100"/>
          <ac:grpSpMkLst>
            <pc:docMk/>
            <pc:sldMk cId="3623768495" sldId="257"/>
            <ac:grpSpMk id="15" creationId="{A5956028-0FD9-AFE5-11B3-98A7A60A9F05}"/>
          </ac:grpSpMkLst>
        </pc:grpChg>
      </pc:sldChg>
      <pc:sldChg chg="addSp delSp modSp mod">
        <pc:chgData name="Yamada, Keiko" userId="69b154d9-a872-4a88-9103-d595d1f3646d" providerId="ADAL" clId="{527A056F-042A-4116-B7FF-BDB5312E9BCD}" dt="2023-09-12T08:33:59.489" v="111" actId="14100"/>
        <pc:sldMkLst>
          <pc:docMk/>
          <pc:sldMk cId="665979446" sldId="259"/>
        </pc:sldMkLst>
        <pc:spChg chg="mod">
          <ac:chgData name="Yamada, Keiko" userId="69b154d9-a872-4a88-9103-d595d1f3646d" providerId="ADAL" clId="{527A056F-042A-4116-B7FF-BDB5312E9BCD}" dt="2023-09-12T08:33:38.650" v="84"/>
          <ac:spMkLst>
            <pc:docMk/>
            <pc:sldMk cId="665979446" sldId="259"/>
            <ac:spMk id="5" creationId="{F5EE02EB-7891-F777-46DB-627A24DD2A1E}"/>
          </ac:spMkLst>
        </pc:spChg>
        <pc:spChg chg="mod">
          <ac:chgData name="Yamada, Keiko" userId="69b154d9-a872-4a88-9103-d595d1f3646d" providerId="ADAL" clId="{527A056F-042A-4116-B7FF-BDB5312E9BCD}" dt="2023-09-12T08:33:38.650" v="84"/>
          <ac:spMkLst>
            <pc:docMk/>
            <pc:sldMk cId="665979446" sldId="259"/>
            <ac:spMk id="6" creationId="{172CD384-3F35-634F-A3FB-ED30CD2EEE14}"/>
          </ac:spMkLst>
        </pc:spChg>
        <pc:spChg chg="mod">
          <ac:chgData name="Yamada, Keiko" userId="69b154d9-a872-4a88-9103-d595d1f3646d" providerId="ADAL" clId="{527A056F-042A-4116-B7FF-BDB5312E9BCD}" dt="2023-09-12T08:33:45.092" v="88" actId="571"/>
          <ac:spMkLst>
            <pc:docMk/>
            <pc:sldMk cId="665979446" sldId="259"/>
            <ac:spMk id="8" creationId="{40988206-4FB3-3FC3-857C-F15823533699}"/>
          </ac:spMkLst>
        </pc:spChg>
        <pc:spChg chg="mod">
          <ac:chgData name="Yamada, Keiko" userId="69b154d9-a872-4a88-9103-d595d1f3646d" providerId="ADAL" clId="{527A056F-042A-4116-B7FF-BDB5312E9BCD}" dt="2023-09-12T08:33:54.241" v="109" actId="14100"/>
          <ac:spMkLst>
            <pc:docMk/>
            <pc:sldMk cId="665979446" sldId="259"/>
            <ac:spMk id="9" creationId="{6F21A83A-FB3A-914D-EFFE-3F157285D650}"/>
          </ac:spMkLst>
        </pc:spChg>
        <pc:spChg chg="mod">
          <ac:chgData name="Yamada, Keiko" userId="69b154d9-a872-4a88-9103-d595d1f3646d" providerId="ADAL" clId="{527A056F-042A-4116-B7FF-BDB5312E9BCD}" dt="2023-09-12T08:33:59.489" v="111" actId="14100"/>
          <ac:spMkLst>
            <pc:docMk/>
            <pc:sldMk cId="665979446" sldId="259"/>
            <ac:spMk id="32" creationId="{6429CD93-65F7-DE8E-DE99-95DF27C20CA3}"/>
          </ac:spMkLst>
        </pc:spChg>
        <pc:spChg chg="mod">
          <ac:chgData name="Yamada, Keiko" userId="69b154d9-a872-4a88-9103-d595d1f3646d" providerId="ADAL" clId="{527A056F-042A-4116-B7FF-BDB5312E9BCD}" dt="2023-09-12T08:33:57.071" v="110" actId="14100"/>
          <ac:spMkLst>
            <pc:docMk/>
            <pc:sldMk cId="665979446" sldId="259"/>
            <ac:spMk id="39" creationId="{2351C219-82CE-92D3-5344-FFC1A65A5838}"/>
          </ac:spMkLst>
        </pc:spChg>
        <pc:grpChg chg="add del mod">
          <ac:chgData name="Yamada, Keiko" userId="69b154d9-a872-4a88-9103-d595d1f3646d" providerId="ADAL" clId="{527A056F-042A-4116-B7FF-BDB5312E9BCD}" dt="2023-09-12T08:33:42.621" v="87" actId="478"/>
          <ac:grpSpMkLst>
            <pc:docMk/>
            <pc:sldMk cId="665979446" sldId="259"/>
            <ac:grpSpMk id="4" creationId="{7BDBB6F0-240F-230F-5D14-AE92C514037C}"/>
          </ac:grpSpMkLst>
        </pc:grpChg>
        <pc:grpChg chg="add mod">
          <ac:chgData name="Yamada, Keiko" userId="69b154d9-a872-4a88-9103-d595d1f3646d" providerId="ADAL" clId="{527A056F-042A-4116-B7FF-BDB5312E9BCD}" dt="2023-09-12T08:33:45.092" v="88" actId="571"/>
          <ac:grpSpMkLst>
            <pc:docMk/>
            <pc:sldMk cId="665979446" sldId="259"/>
            <ac:grpSpMk id="7" creationId="{C1280AA8-B6B8-6C3A-0522-866F108FF439}"/>
          </ac:grpSpMkLst>
        </pc:grpChg>
        <pc:grpChg chg="del">
          <ac:chgData name="Yamada, Keiko" userId="69b154d9-a872-4a88-9103-d595d1f3646d" providerId="ADAL" clId="{527A056F-042A-4116-B7FF-BDB5312E9BCD}" dt="2023-09-12T08:33:38.424" v="83" actId="478"/>
          <ac:grpSpMkLst>
            <pc:docMk/>
            <pc:sldMk cId="665979446" sldId="259"/>
            <ac:grpSpMk id="40" creationId="{C40F51BB-20C8-834E-2177-C66F83B8B8CF}"/>
          </ac:grpSpMkLst>
        </pc:grpChg>
      </pc:sldChg>
    </pc:docChg>
  </pc:docChgLst>
  <pc:docChgLst>
    <pc:chgData name="Kobayashi, Aoi" userId="ef58220d-27c0-4129-aee6-d47e1f114e2f" providerId="ADAL" clId="{821B1626-A4CC-4AE3-8EA1-C676344BB3FF}"/>
    <pc:docChg chg="undo custSel addSld modSld modMainMaster modSection">
      <pc:chgData name="Kobayashi, Aoi" userId="ef58220d-27c0-4129-aee6-d47e1f114e2f" providerId="ADAL" clId="{821B1626-A4CC-4AE3-8EA1-C676344BB3FF}" dt="2023-09-28T04:37:16.276" v="1920" actId="17846"/>
      <pc:docMkLst>
        <pc:docMk/>
      </pc:docMkLst>
      <pc:sldChg chg="addSp delSp modSp mod">
        <pc:chgData name="Kobayashi, Aoi" userId="ef58220d-27c0-4129-aee6-d47e1f114e2f" providerId="ADAL" clId="{821B1626-A4CC-4AE3-8EA1-C676344BB3FF}" dt="2023-09-28T04:23:33.915" v="1493" actId="20577"/>
        <pc:sldMkLst>
          <pc:docMk/>
          <pc:sldMk cId="3623768495" sldId="257"/>
        </pc:sldMkLst>
        <pc:spChg chg="del">
          <ac:chgData name="Kobayashi, Aoi" userId="ef58220d-27c0-4129-aee6-d47e1f114e2f" providerId="ADAL" clId="{821B1626-A4CC-4AE3-8EA1-C676344BB3FF}" dt="2023-09-28T02:11:28.457" v="72" actId="478"/>
          <ac:spMkLst>
            <pc:docMk/>
            <pc:sldMk cId="3623768495" sldId="257"/>
            <ac:spMk id="2" creationId="{00000000-0000-0000-0000-000000000000}"/>
          </ac:spMkLst>
        </pc:spChg>
        <pc:spChg chg="mod">
          <ac:chgData name="Kobayashi, Aoi" userId="ef58220d-27c0-4129-aee6-d47e1f114e2f" providerId="ADAL" clId="{821B1626-A4CC-4AE3-8EA1-C676344BB3FF}" dt="2023-09-28T04:20:46.633" v="1252" actId="20577"/>
          <ac:spMkLst>
            <pc:docMk/>
            <pc:sldMk cId="3623768495" sldId="257"/>
            <ac:spMk id="6" creationId="{C6F136DC-8F39-132D-9660-931867FC9D5E}"/>
          </ac:spMkLst>
        </pc:spChg>
        <pc:spChg chg="mod">
          <ac:chgData name="Kobayashi, Aoi" userId="ef58220d-27c0-4129-aee6-d47e1f114e2f" providerId="ADAL" clId="{821B1626-A4CC-4AE3-8EA1-C676344BB3FF}" dt="2023-09-28T04:16:56.301" v="870" actId="14100"/>
          <ac:spMkLst>
            <pc:docMk/>
            <pc:sldMk cId="3623768495" sldId="257"/>
            <ac:spMk id="9" creationId="{706E7B8F-E9EC-3C64-B5A7-0FF425D9437A}"/>
          </ac:spMkLst>
        </pc:spChg>
        <pc:spChg chg="mod">
          <ac:chgData name="Kobayashi, Aoi" userId="ef58220d-27c0-4129-aee6-d47e1f114e2f" providerId="ADAL" clId="{821B1626-A4CC-4AE3-8EA1-C676344BB3FF}" dt="2023-09-28T04:17:00.065" v="873" actId="1035"/>
          <ac:spMkLst>
            <pc:docMk/>
            <pc:sldMk cId="3623768495" sldId="257"/>
            <ac:spMk id="10" creationId="{333BAE42-4813-B951-CBB5-EF8762343314}"/>
          </ac:spMkLst>
        </pc:spChg>
        <pc:spChg chg="del mod">
          <ac:chgData name="Kobayashi, Aoi" userId="ef58220d-27c0-4129-aee6-d47e1f114e2f" providerId="ADAL" clId="{821B1626-A4CC-4AE3-8EA1-C676344BB3FF}" dt="2023-09-28T02:25:47.419" v="468" actId="478"/>
          <ac:spMkLst>
            <pc:docMk/>
            <pc:sldMk cId="3623768495" sldId="257"/>
            <ac:spMk id="11" creationId="{4EB13487-54D7-42BC-20DA-E86DAAE6BBF3}"/>
          </ac:spMkLst>
        </pc:spChg>
        <pc:spChg chg="mod">
          <ac:chgData name="Kobayashi, Aoi" userId="ef58220d-27c0-4129-aee6-d47e1f114e2f" providerId="ADAL" clId="{821B1626-A4CC-4AE3-8EA1-C676344BB3FF}" dt="2023-09-28T04:14:45.862" v="774" actId="1035"/>
          <ac:spMkLst>
            <pc:docMk/>
            <pc:sldMk cId="3623768495" sldId="257"/>
            <ac:spMk id="13" creationId="{F1EC8D81-9769-214E-4F12-B700FE62FDA6}"/>
          </ac:spMkLst>
        </pc:spChg>
        <pc:spChg chg="del mod">
          <ac:chgData name="Kobayashi, Aoi" userId="ef58220d-27c0-4129-aee6-d47e1f114e2f" providerId="ADAL" clId="{821B1626-A4CC-4AE3-8EA1-C676344BB3FF}" dt="2023-09-28T02:25:33.989" v="464" actId="478"/>
          <ac:spMkLst>
            <pc:docMk/>
            <pc:sldMk cId="3623768495" sldId="257"/>
            <ac:spMk id="20" creationId="{7C1E094B-288B-12F7-051D-9960C0C5D76E}"/>
          </ac:spMkLst>
        </pc:spChg>
        <pc:spChg chg="del mod">
          <ac:chgData name="Kobayashi, Aoi" userId="ef58220d-27c0-4129-aee6-d47e1f114e2f" providerId="ADAL" clId="{821B1626-A4CC-4AE3-8EA1-C676344BB3FF}" dt="2023-09-28T02:25:33.989" v="464" actId="478"/>
          <ac:spMkLst>
            <pc:docMk/>
            <pc:sldMk cId="3623768495" sldId="257"/>
            <ac:spMk id="21" creationId="{E10E0497-950E-CA6C-B131-0710C617B25C}"/>
          </ac:spMkLst>
        </pc:spChg>
        <pc:spChg chg="mod">
          <ac:chgData name="Kobayashi, Aoi" userId="ef58220d-27c0-4129-aee6-d47e1f114e2f" providerId="ADAL" clId="{821B1626-A4CC-4AE3-8EA1-C676344BB3FF}" dt="2023-09-28T04:22:54.549" v="1341" actId="20577"/>
          <ac:spMkLst>
            <pc:docMk/>
            <pc:sldMk cId="3623768495" sldId="257"/>
            <ac:spMk id="22" creationId="{F579E50D-4425-B556-3FE3-CA99EDF54B85}"/>
          </ac:spMkLst>
        </pc:spChg>
        <pc:spChg chg="mod">
          <ac:chgData name="Kobayashi, Aoi" userId="ef58220d-27c0-4129-aee6-d47e1f114e2f" providerId="ADAL" clId="{821B1626-A4CC-4AE3-8EA1-C676344BB3FF}" dt="2023-09-28T04:18:14.820" v="1021" actId="14100"/>
          <ac:spMkLst>
            <pc:docMk/>
            <pc:sldMk cId="3623768495" sldId="257"/>
            <ac:spMk id="23" creationId="{3C59940E-9A73-BF3C-EAAB-5D2B2DB51B52}"/>
          </ac:spMkLst>
        </pc:spChg>
        <pc:spChg chg="mod">
          <ac:chgData name="Kobayashi, Aoi" userId="ef58220d-27c0-4129-aee6-d47e1f114e2f" providerId="ADAL" clId="{821B1626-A4CC-4AE3-8EA1-C676344BB3FF}" dt="2023-09-28T02:28:52.587" v="728" actId="21"/>
          <ac:spMkLst>
            <pc:docMk/>
            <pc:sldMk cId="3623768495" sldId="257"/>
            <ac:spMk id="24" creationId="{BA8A7158-B5BB-6C66-5E38-6552AEF4A95D}"/>
          </ac:spMkLst>
        </pc:spChg>
        <pc:spChg chg="mod">
          <ac:chgData name="Kobayashi, Aoi" userId="ef58220d-27c0-4129-aee6-d47e1f114e2f" providerId="ADAL" clId="{821B1626-A4CC-4AE3-8EA1-C676344BB3FF}" dt="2023-09-28T02:26:57.868" v="493" actId="14100"/>
          <ac:spMkLst>
            <pc:docMk/>
            <pc:sldMk cId="3623768495" sldId="257"/>
            <ac:spMk id="25" creationId="{0E5CE8F3-F8FD-7442-3FA3-94F7FA943A93}"/>
          </ac:spMkLst>
        </pc:spChg>
        <pc:spChg chg="del">
          <ac:chgData name="Kobayashi, Aoi" userId="ef58220d-27c0-4129-aee6-d47e1f114e2f" providerId="ADAL" clId="{821B1626-A4CC-4AE3-8EA1-C676344BB3FF}" dt="2023-09-28T02:27:15.259" v="495" actId="478"/>
          <ac:spMkLst>
            <pc:docMk/>
            <pc:sldMk cId="3623768495" sldId="257"/>
            <ac:spMk id="26" creationId="{8B80550C-3137-BAEB-2518-2F49F11C63BA}"/>
          </ac:spMkLst>
        </pc:spChg>
        <pc:spChg chg="mod">
          <ac:chgData name="Kobayashi, Aoi" userId="ef58220d-27c0-4129-aee6-d47e1f114e2f" providerId="ADAL" clId="{821B1626-A4CC-4AE3-8EA1-C676344BB3FF}" dt="2023-09-28T04:23:21.617" v="1443" actId="20577"/>
          <ac:spMkLst>
            <pc:docMk/>
            <pc:sldMk cId="3623768495" sldId="257"/>
            <ac:spMk id="31" creationId="{8441653C-2B4D-018F-888F-D8C9444D4862}"/>
          </ac:spMkLst>
        </pc:spChg>
        <pc:spChg chg="mod">
          <ac:chgData name="Kobayashi, Aoi" userId="ef58220d-27c0-4129-aee6-d47e1f114e2f" providerId="ADAL" clId="{821B1626-A4CC-4AE3-8EA1-C676344BB3FF}" dt="2023-09-28T04:18:33.648" v="1061" actId="14100"/>
          <ac:spMkLst>
            <pc:docMk/>
            <pc:sldMk cId="3623768495" sldId="257"/>
            <ac:spMk id="32" creationId="{DFDC7D29-7FCF-BA9A-347F-C28E3EB0762B}"/>
          </ac:spMkLst>
        </pc:spChg>
        <pc:spChg chg="mod">
          <ac:chgData name="Kobayashi, Aoi" userId="ef58220d-27c0-4129-aee6-d47e1f114e2f" providerId="ADAL" clId="{821B1626-A4CC-4AE3-8EA1-C676344BB3FF}" dt="2023-09-28T04:23:33.915" v="1493" actId="20577"/>
          <ac:spMkLst>
            <pc:docMk/>
            <pc:sldMk cId="3623768495" sldId="257"/>
            <ac:spMk id="33" creationId="{4E9BE460-17B4-9ADA-7366-AC97AE409470}"/>
          </ac:spMkLst>
        </pc:spChg>
        <pc:spChg chg="mod">
          <ac:chgData name="Kobayashi, Aoi" userId="ef58220d-27c0-4129-aee6-d47e1f114e2f" providerId="ADAL" clId="{821B1626-A4CC-4AE3-8EA1-C676344BB3FF}" dt="2023-09-28T04:19:21.940" v="1080" actId="14100"/>
          <ac:spMkLst>
            <pc:docMk/>
            <pc:sldMk cId="3623768495" sldId="257"/>
            <ac:spMk id="34" creationId="{DCFFE26D-8815-6B61-D77D-C88D21D4CC26}"/>
          </ac:spMkLst>
        </pc:spChg>
        <pc:spChg chg="del mod">
          <ac:chgData name="Kobayashi, Aoi" userId="ef58220d-27c0-4129-aee6-d47e1f114e2f" providerId="ADAL" clId="{821B1626-A4CC-4AE3-8EA1-C676344BB3FF}" dt="2023-09-28T02:25:38.707" v="465" actId="478"/>
          <ac:spMkLst>
            <pc:docMk/>
            <pc:sldMk cId="3623768495" sldId="257"/>
            <ac:spMk id="38" creationId="{EE685479-3F5D-F201-FB0C-4BEFA13AF3C6}"/>
          </ac:spMkLst>
        </pc:spChg>
        <pc:spChg chg="del mod">
          <ac:chgData name="Kobayashi, Aoi" userId="ef58220d-27c0-4129-aee6-d47e1f114e2f" providerId="ADAL" clId="{821B1626-A4CC-4AE3-8EA1-C676344BB3FF}" dt="2023-09-28T02:25:38.707" v="465" actId="478"/>
          <ac:spMkLst>
            <pc:docMk/>
            <pc:sldMk cId="3623768495" sldId="257"/>
            <ac:spMk id="39" creationId="{3C0A55CC-C35C-1DD1-5273-5E67309692D6}"/>
          </ac:spMkLst>
        </pc:spChg>
        <pc:spChg chg="mod">
          <ac:chgData name="Kobayashi, Aoi" userId="ef58220d-27c0-4129-aee6-d47e1f114e2f" providerId="ADAL" clId="{821B1626-A4CC-4AE3-8EA1-C676344BB3FF}" dt="2023-09-28T04:21:03.241" v="1260" actId="20577"/>
          <ac:spMkLst>
            <pc:docMk/>
            <pc:sldMk cId="3623768495" sldId="257"/>
            <ac:spMk id="50" creationId="{FDFDB67F-ADA5-82F8-C948-5DEC7F4997A1}"/>
          </ac:spMkLst>
        </pc:spChg>
        <pc:spChg chg="mod">
          <ac:chgData name="Kobayashi, Aoi" userId="ef58220d-27c0-4129-aee6-d47e1f114e2f" providerId="ADAL" clId="{821B1626-A4CC-4AE3-8EA1-C676344BB3FF}" dt="2023-09-28T04:14:17.463" v="739" actId="14100"/>
          <ac:spMkLst>
            <pc:docMk/>
            <pc:sldMk cId="3623768495" sldId="257"/>
            <ac:spMk id="51" creationId="{7A5B9F25-175E-7B33-5203-D678032CFC51}"/>
          </ac:spMkLst>
        </pc:spChg>
        <pc:spChg chg="del">
          <ac:chgData name="Kobayashi, Aoi" userId="ef58220d-27c0-4129-aee6-d47e1f114e2f" providerId="ADAL" clId="{821B1626-A4CC-4AE3-8EA1-C676344BB3FF}" dt="2023-09-28T02:26:05.574" v="474" actId="478"/>
          <ac:spMkLst>
            <pc:docMk/>
            <pc:sldMk cId="3623768495" sldId="257"/>
            <ac:spMk id="52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2:11:28.457" v="72" actId="478"/>
          <ac:spMkLst>
            <pc:docMk/>
            <pc:sldMk cId="3623768495" sldId="257"/>
            <ac:spMk id="53" creationId="{00000000-0000-0000-0000-000000000000}"/>
          </ac:spMkLst>
        </pc:spChg>
        <pc:spChg chg="del">
          <ac:chgData name="Kobayashi, Aoi" userId="ef58220d-27c0-4129-aee6-d47e1f114e2f" providerId="ADAL" clId="{821B1626-A4CC-4AE3-8EA1-C676344BB3FF}" dt="2023-09-28T04:14:01.182" v="736" actId="478"/>
          <ac:spMkLst>
            <pc:docMk/>
            <pc:sldMk cId="3623768495" sldId="257"/>
            <ac:spMk id="54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4:19:03.403" v="1078" actId="478"/>
          <ac:spMkLst>
            <pc:docMk/>
            <pc:sldMk cId="3623768495" sldId="257"/>
            <ac:spMk id="55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2:26:05.574" v="474" actId="478"/>
          <ac:spMkLst>
            <pc:docMk/>
            <pc:sldMk cId="3623768495" sldId="257"/>
            <ac:spMk id="56" creationId="{70D074C3-4A3C-3B70-F723-79ABB447E15C}"/>
          </ac:spMkLst>
        </pc:spChg>
        <pc:spChg chg="del mod">
          <ac:chgData name="Kobayashi, Aoi" userId="ef58220d-27c0-4129-aee6-d47e1f114e2f" providerId="ADAL" clId="{821B1626-A4CC-4AE3-8EA1-C676344BB3FF}" dt="2023-09-28T04:14:07.269" v="738" actId="478"/>
          <ac:spMkLst>
            <pc:docMk/>
            <pc:sldMk cId="3623768495" sldId="257"/>
            <ac:spMk id="57" creationId="{00000000-0000-0000-0000-000000000000}"/>
          </ac:spMkLst>
        </pc:spChg>
        <pc:spChg chg="mod">
          <ac:chgData name="Kobayashi, Aoi" userId="ef58220d-27c0-4129-aee6-d47e1f114e2f" providerId="ADAL" clId="{821B1626-A4CC-4AE3-8EA1-C676344BB3FF}" dt="2023-09-28T04:14:25.795" v="740" actId="14100"/>
          <ac:spMkLst>
            <pc:docMk/>
            <pc:sldMk cId="3623768495" sldId="257"/>
            <ac:spMk id="58" creationId="{A8B95E82-36C7-8A4E-15F2-49E7C45F54D8}"/>
          </ac:spMkLst>
        </pc:spChg>
        <pc:spChg chg="mod">
          <ac:chgData name="Kobayashi, Aoi" userId="ef58220d-27c0-4129-aee6-d47e1f114e2f" providerId="ADAL" clId="{821B1626-A4CC-4AE3-8EA1-C676344BB3FF}" dt="2023-09-28T04:16:04.534" v="846" actId="571"/>
          <ac:spMkLst>
            <pc:docMk/>
            <pc:sldMk cId="3623768495" sldId="257"/>
            <ac:spMk id="60" creationId="{8BD72447-9413-552A-A1B5-0207CE18AEF7}"/>
          </ac:spMkLst>
        </pc:spChg>
        <pc:spChg chg="mod">
          <ac:chgData name="Kobayashi, Aoi" userId="ef58220d-27c0-4129-aee6-d47e1f114e2f" providerId="ADAL" clId="{821B1626-A4CC-4AE3-8EA1-C676344BB3FF}" dt="2023-09-28T04:16:04.534" v="846" actId="571"/>
          <ac:spMkLst>
            <pc:docMk/>
            <pc:sldMk cId="3623768495" sldId="257"/>
            <ac:spMk id="61" creationId="{9FBF3985-7D26-CD21-B1DE-A608DB322873}"/>
          </ac:spMkLst>
        </pc:spChg>
        <pc:spChg chg="mod">
          <ac:chgData name="Kobayashi, Aoi" userId="ef58220d-27c0-4129-aee6-d47e1f114e2f" providerId="ADAL" clId="{821B1626-A4CC-4AE3-8EA1-C676344BB3FF}" dt="2023-09-28T04:16:04.272" v="845" actId="571"/>
          <ac:spMkLst>
            <pc:docMk/>
            <pc:sldMk cId="3623768495" sldId="257"/>
            <ac:spMk id="63" creationId="{2B0828C2-83C8-AE5A-F739-404D4F04F2FB}"/>
          </ac:spMkLst>
        </pc:spChg>
        <pc:spChg chg="mod">
          <ac:chgData name="Kobayashi, Aoi" userId="ef58220d-27c0-4129-aee6-d47e1f114e2f" providerId="ADAL" clId="{821B1626-A4CC-4AE3-8EA1-C676344BB3FF}" dt="2023-09-28T04:16:04.272" v="845" actId="571"/>
          <ac:spMkLst>
            <pc:docMk/>
            <pc:sldMk cId="3623768495" sldId="257"/>
            <ac:spMk id="64" creationId="{677B827E-6D28-87D0-24DE-78D05D77A27B}"/>
          </ac:spMkLst>
        </pc:spChg>
        <pc:spChg chg="mod">
          <ac:chgData name="Kobayashi, Aoi" userId="ef58220d-27c0-4129-aee6-d47e1f114e2f" providerId="ADAL" clId="{821B1626-A4CC-4AE3-8EA1-C676344BB3FF}" dt="2023-09-28T04:17:47.082" v="973" actId="20577"/>
          <ac:spMkLst>
            <pc:docMk/>
            <pc:sldMk cId="3623768495" sldId="257"/>
            <ac:spMk id="66" creationId="{BB70FF6D-A7DD-1D23-DEB0-A7DFEED79783}"/>
          </ac:spMkLst>
        </pc:spChg>
        <pc:spChg chg="mod">
          <ac:chgData name="Kobayashi, Aoi" userId="ef58220d-27c0-4129-aee6-d47e1f114e2f" providerId="ADAL" clId="{821B1626-A4CC-4AE3-8EA1-C676344BB3FF}" dt="2023-09-28T04:16:45.418" v="869" actId="20577"/>
          <ac:spMkLst>
            <pc:docMk/>
            <pc:sldMk cId="3623768495" sldId="257"/>
            <ac:spMk id="67" creationId="{8141FF00-8FAE-89CC-F263-1FB6572B34E0}"/>
          </ac:spMkLst>
        </pc:spChg>
        <pc:grpChg chg="del">
          <ac:chgData name="Kobayashi, Aoi" userId="ef58220d-27c0-4129-aee6-d47e1f114e2f" providerId="ADAL" clId="{821B1626-A4CC-4AE3-8EA1-C676344BB3FF}" dt="2023-09-28T02:11:25.895" v="71" actId="478"/>
          <ac:grpSpMkLst>
            <pc:docMk/>
            <pc:sldMk cId="3623768495" sldId="257"/>
            <ac:grpSpMk id="3" creationId="{442FA6D2-C275-916F-DD15-F07694C64350}"/>
          </ac:grpSpMkLst>
        </pc:grpChg>
        <pc:grpChg chg="del">
          <ac:chgData name="Kobayashi, Aoi" userId="ef58220d-27c0-4129-aee6-d47e1f114e2f" providerId="ADAL" clId="{821B1626-A4CC-4AE3-8EA1-C676344BB3FF}" dt="2023-09-28T02:11:25.895" v="71" actId="478"/>
          <ac:grpSpMkLst>
            <pc:docMk/>
            <pc:sldMk cId="3623768495" sldId="257"/>
            <ac:grpSpMk id="7" creationId="{169B776D-3E1F-783C-6270-2B216FE85F4F}"/>
          </ac:grpSpMkLst>
        </pc:grpChg>
        <pc:grpChg chg="add mod">
          <ac:chgData name="Kobayashi, Aoi" userId="ef58220d-27c0-4129-aee6-d47e1f114e2f" providerId="ADAL" clId="{821B1626-A4CC-4AE3-8EA1-C676344BB3FF}" dt="2023-09-28T04:13:25.193" v="735" actId="1038"/>
          <ac:grpSpMkLst>
            <pc:docMk/>
            <pc:sldMk cId="3623768495" sldId="257"/>
            <ac:grpSpMk id="14" creationId="{80482075-F8A4-E69D-3FCB-2043C6C12E46}"/>
          </ac:grpSpMkLst>
        </pc:grpChg>
        <pc:grpChg chg="del">
          <ac:chgData name="Kobayashi, Aoi" userId="ef58220d-27c0-4129-aee6-d47e1f114e2f" providerId="ADAL" clId="{821B1626-A4CC-4AE3-8EA1-C676344BB3FF}" dt="2023-09-28T04:15:12.208" v="778" actId="478"/>
          <ac:grpSpMkLst>
            <pc:docMk/>
            <pc:sldMk cId="3623768495" sldId="257"/>
            <ac:grpSpMk id="15" creationId="{A5956028-0FD9-AFE5-11B3-98A7A60A9F05}"/>
          </ac:grpSpMkLst>
        </pc:grpChg>
        <pc:grpChg chg="mod">
          <ac:chgData name="Kobayashi, Aoi" userId="ef58220d-27c0-4129-aee6-d47e1f114e2f" providerId="ADAL" clId="{821B1626-A4CC-4AE3-8EA1-C676344BB3FF}" dt="2023-09-28T04:19:26.983" v="1117" actId="1036"/>
          <ac:grpSpMkLst>
            <pc:docMk/>
            <pc:sldMk cId="3623768495" sldId="257"/>
            <ac:grpSpMk id="16" creationId="{9EBDF3EA-82D3-8FC7-0ABB-C5E76C178DBE}"/>
          </ac:grpSpMkLst>
        </pc:grpChg>
        <pc:grpChg chg="mod">
          <ac:chgData name="Kobayashi, Aoi" userId="ef58220d-27c0-4129-aee6-d47e1f114e2f" providerId="ADAL" clId="{821B1626-A4CC-4AE3-8EA1-C676344BB3FF}" dt="2023-09-28T04:19:48.416" v="1139" actId="465"/>
          <ac:grpSpMkLst>
            <pc:docMk/>
            <pc:sldMk cId="3623768495" sldId="257"/>
            <ac:grpSpMk id="17" creationId="{38CD38FD-A48C-4FBB-C2D2-0446D490C640}"/>
          </ac:grpSpMkLst>
        </pc:grpChg>
        <pc:grpChg chg="mod">
          <ac:chgData name="Kobayashi, Aoi" userId="ef58220d-27c0-4129-aee6-d47e1f114e2f" providerId="ADAL" clId="{821B1626-A4CC-4AE3-8EA1-C676344BB3FF}" dt="2023-09-28T04:19:42.288" v="1138" actId="14100"/>
          <ac:grpSpMkLst>
            <pc:docMk/>
            <pc:sldMk cId="3623768495" sldId="257"/>
            <ac:grpSpMk id="18" creationId="{8D6EA6B2-94E0-64A2-104E-18A81CA5B547}"/>
          </ac:grpSpMkLst>
        </pc:grpChg>
        <pc:grpChg chg="mod">
          <ac:chgData name="Kobayashi, Aoi" userId="ef58220d-27c0-4129-aee6-d47e1f114e2f" providerId="ADAL" clId="{821B1626-A4CC-4AE3-8EA1-C676344BB3FF}" dt="2023-09-28T02:23:06.784" v="217" actId="14100"/>
          <ac:grpSpMkLst>
            <pc:docMk/>
            <pc:sldMk cId="3623768495" sldId="257"/>
            <ac:grpSpMk id="19" creationId="{D6B8F486-0EE2-C35D-8BC3-A9E2D0B74C53}"/>
          </ac:grpSpMkLst>
        </pc:grpChg>
        <pc:grpChg chg="add mod">
          <ac:chgData name="Kobayashi, Aoi" userId="ef58220d-27c0-4129-aee6-d47e1f114e2f" providerId="ADAL" clId="{821B1626-A4CC-4AE3-8EA1-C676344BB3FF}" dt="2023-09-28T02:28:24.616" v="711" actId="571"/>
          <ac:grpSpMkLst>
            <pc:docMk/>
            <pc:sldMk cId="3623768495" sldId="257"/>
            <ac:grpSpMk id="27" creationId="{B81B47EB-8F1D-6A1B-6E6E-3499B53FDBA7}"/>
          </ac:grpSpMkLst>
        </pc:grpChg>
        <pc:grpChg chg="add mod">
          <ac:chgData name="Kobayashi, Aoi" userId="ef58220d-27c0-4129-aee6-d47e1f114e2f" providerId="ADAL" clId="{821B1626-A4CC-4AE3-8EA1-C676344BB3FF}" dt="2023-09-28T04:16:04.534" v="846" actId="571"/>
          <ac:grpSpMkLst>
            <pc:docMk/>
            <pc:sldMk cId="3623768495" sldId="257"/>
            <ac:grpSpMk id="59" creationId="{CF1AAE6A-0A27-C1CA-90DC-6381F2D073DA}"/>
          </ac:grpSpMkLst>
        </pc:grpChg>
        <pc:grpChg chg="add mod">
          <ac:chgData name="Kobayashi, Aoi" userId="ef58220d-27c0-4129-aee6-d47e1f114e2f" providerId="ADAL" clId="{821B1626-A4CC-4AE3-8EA1-C676344BB3FF}" dt="2023-09-28T04:16:04.272" v="845" actId="571"/>
          <ac:grpSpMkLst>
            <pc:docMk/>
            <pc:sldMk cId="3623768495" sldId="257"/>
            <ac:grpSpMk id="62" creationId="{B7C8193B-0D16-C5B4-476E-170D8BBBABF0}"/>
          </ac:grpSpMkLst>
        </pc:grpChg>
        <pc:grpChg chg="add mod">
          <ac:chgData name="Kobayashi, Aoi" userId="ef58220d-27c0-4129-aee6-d47e1f114e2f" providerId="ADAL" clId="{821B1626-A4CC-4AE3-8EA1-C676344BB3FF}" dt="2023-09-28T04:16:11.898" v="847" actId="571"/>
          <ac:grpSpMkLst>
            <pc:docMk/>
            <pc:sldMk cId="3623768495" sldId="257"/>
            <ac:grpSpMk id="65" creationId="{0B697A69-12FA-012C-D41A-4EFBB5A1FADA}"/>
          </ac:grpSpMkLst>
        </pc:grpChg>
      </pc:sldChg>
      <pc:sldChg chg="addSp delSp modSp add mod">
        <pc:chgData name="Kobayashi, Aoi" userId="ef58220d-27c0-4129-aee6-d47e1f114e2f" providerId="ADAL" clId="{821B1626-A4CC-4AE3-8EA1-C676344BB3FF}" dt="2023-09-28T04:29:05.004" v="1919" actId="20577"/>
        <pc:sldMkLst>
          <pc:docMk/>
          <pc:sldMk cId="2776085579" sldId="258"/>
        </pc:sldMkLst>
        <pc:spChg chg="del mod">
          <ac:chgData name="Kobayashi, Aoi" userId="ef58220d-27c0-4129-aee6-d47e1f114e2f" providerId="ADAL" clId="{821B1626-A4CC-4AE3-8EA1-C676344BB3FF}" dt="2023-09-28T04:24:52.315" v="1504" actId="478"/>
          <ac:spMkLst>
            <pc:docMk/>
            <pc:sldMk cId="2776085579" sldId="258"/>
            <ac:spMk id="2" creationId="{00000000-0000-0000-0000-000000000000}"/>
          </ac:spMkLst>
        </pc:spChg>
        <pc:spChg chg="mod">
          <ac:chgData name="Kobayashi, Aoi" userId="ef58220d-27c0-4129-aee6-d47e1f114e2f" providerId="ADAL" clId="{821B1626-A4CC-4AE3-8EA1-C676344BB3FF}" dt="2023-09-28T04:27:26.494" v="1639" actId="113"/>
          <ac:spMkLst>
            <pc:docMk/>
            <pc:sldMk cId="2776085579" sldId="258"/>
            <ac:spMk id="4" creationId="{FD1DBB9A-DE18-A086-AF2C-C0E4C0FFBACC}"/>
          </ac:spMkLst>
        </pc:spChg>
        <pc:spChg chg="mod">
          <ac:chgData name="Kobayashi, Aoi" userId="ef58220d-27c0-4129-aee6-d47e1f114e2f" providerId="ADAL" clId="{821B1626-A4CC-4AE3-8EA1-C676344BB3FF}" dt="2023-09-28T04:24:12.418" v="1496" actId="14100"/>
          <ac:spMkLst>
            <pc:docMk/>
            <pc:sldMk cId="2776085579" sldId="258"/>
            <ac:spMk id="5" creationId="{E5D5A7CE-FE3E-7DBC-DB72-ADB5F8CAB6C6}"/>
          </ac:spMkLst>
        </pc:spChg>
        <pc:spChg chg="del mod">
          <ac:chgData name="Kobayashi, Aoi" userId="ef58220d-27c0-4129-aee6-d47e1f114e2f" providerId="ADAL" clId="{821B1626-A4CC-4AE3-8EA1-C676344BB3FF}" dt="2023-09-28T04:27:07.685" v="1636" actId="478"/>
          <ac:spMkLst>
            <pc:docMk/>
            <pc:sldMk cId="2776085579" sldId="258"/>
            <ac:spMk id="6" creationId="{C6F136DC-8F39-132D-9660-931867FC9D5E}"/>
          </ac:spMkLst>
        </pc:spChg>
        <pc:spChg chg="mod">
          <ac:chgData name="Kobayashi, Aoi" userId="ef58220d-27c0-4129-aee6-d47e1f114e2f" providerId="ADAL" clId="{821B1626-A4CC-4AE3-8EA1-C676344BB3FF}" dt="2023-09-28T04:28:57.664" v="1890" actId="20577"/>
          <ac:spMkLst>
            <pc:docMk/>
            <pc:sldMk cId="2776085579" sldId="258"/>
            <ac:spMk id="8" creationId="{E59311C3-B272-E00A-06B3-BB9BF283EBE0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11" creationId="{4EB13487-54D7-42BC-20DA-E86DAAE6BBF3}"/>
          </ac:spMkLst>
        </pc:spChg>
        <pc:spChg chg="mod">
          <ac:chgData name="Kobayashi, Aoi" userId="ef58220d-27c0-4129-aee6-d47e1f114e2f" providerId="ADAL" clId="{821B1626-A4CC-4AE3-8EA1-C676344BB3FF}" dt="2023-09-28T04:27:01.266" v="1634" actId="1037"/>
          <ac:spMkLst>
            <pc:docMk/>
            <pc:sldMk cId="2776085579" sldId="258"/>
            <ac:spMk id="12" creationId="{7950EF54-BF0E-B8C3-3663-661E2231A9B9}"/>
          </ac:spMkLst>
        </pc:spChg>
        <pc:spChg chg="del mod">
          <ac:chgData name="Kobayashi, Aoi" userId="ef58220d-27c0-4129-aee6-d47e1f114e2f" providerId="ADAL" clId="{821B1626-A4CC-4AE3-8EA1-C676344BB3FF}" dt="2023-09-28T04:27:09.639" v="1637" actId="478"/>
          <ac:spMkLst>
            <pc:docMk/>
            <pc:sldMk cId="2776085579" sldId="258"/>
            <ac:spMk id="13" creationId="{F1EC8D81-9769-214E-4F12-B700FE62FDA6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20" creationId="{7C1E094B-288B-12F7-051D-9960C0C5D76E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21" creationId="{E10E0497-950E-CA6C-B131-0710C617B25C}"/>
          </ac:spMkLst>
        </pc:spChg>
        <pc:spChg chg="del">
          <ac:chgData name="Kobayashi, Aoi" userId="ef58220d-27c0-4129-aee6-d47e1f114e2f" providerId="ADAL" clId="{821B1626-A4CC-4AE3-8EA1-C676344BB3FF}" dt="2023-09-28T04:25:35.468" v="1536" actId="478"/>
          <ac:spMkLst>
            <pc:docMk/>
            <pc:sldMk cId="2776085579" sldId="258"/>
            <ac:spMk id="26" creationId="{8B80550C-3137-BAEB-2518-2F49F11C63BA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38" creationId="{EE685479-3F5D-F201-FB0C-4BEFA13AF3C6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39" creationId="{3C0A55CC-C35C-1DD1-5273-5E67309692D6}"/>
          </ac:spMkLst>
        </pc:spChg>
        <pc:spChg chg="del mod">
          <ac:chgData name="Kobayashi, Aoi" userId="ef58220d-27c0-4129-aee6-d47e1f114e2f" providerId="ADAL" clId="{821B1626-A4CC-4AE3-8EA1-C676344BB3FF}" dt="2023-09-28T04:24:46.525" v="1501" actId="478"/>
          <ac:spMkLst>
            <pc:docMk/>
            <pc:sldMk cId="2776085579" sldId="258"/>
            <ac:spMk id="44" creationId="{234FA5C0-E8E3-8E6A-3B45-8CCF457AE077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52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4:25:12.935" v="1533" actId="478"/>
          <ac:spMkLst>
            <pc:docMk/>
            <pc:sldMk cId="2776085579" sldId="258"/>
            <ac:spMk id="53" creationId="{00000000-0000-0000-0000-000000000000}"/>
          </ac:spMkLst>
        </pc:spChg>
        <pc:spChg chg="del">
          <ac:chgData name="Kobayashi, Aoi" userId="ef58220d-27c0-4129-aee6-d47e1f114e2f" providerId="ADAL" clId="{821B1626-A4CC-4AE3-8EA1-C676344BB3FF}" dt="2023-09-28T04:27:06.113" v="1635" actId="478"/>
          <ac:spMkLst>
            <pc:docMk/>
            <pc:sldMk cId="2776085579" sldId="258"/>
            <ac:spMk id="54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4:23:48.940" v="1494" actId="478"/>
          <ac:spMkLst>
            <pc:docMk/>
            <pc:sldMk cId="2776085579" sldId="258"/>
            <ac:spMk id="55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56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4:25:29.320" v="1534" actId="478"/>
          <ac:spMkLst>
            <pc:docMk/>
            <pc:sldMk cId="2776085579" sldId="258"/>
            <ac:spMk id="57" creationId="{00000000-0000-0000-0000-000000000000}"/>
          </ac:spMkLst>
        </pc:spChg>
        <pc:spChg chg="mod">
          <ac:chgData name="Kobayashi, Aoi" userId="ef58220d-27c0-4129-aee6-d47e1f114e2f" providerId="ADAL" clId="{821B1626-A4CC-4AE3-8EA1-C676344BB3FF}" dt="2023-09-28T04:29:05.004" v="1919" actId="20577"/>
          <ac:spMkLst>
            <pc:docMk/>
            <pc:sldMk cId="2776085579" sldId="258"/>
            <ac:spMk id="58" creationId="{272B64A1-60AD-864A-391D-F2E4154B0F6D}"/>
          </ac:spMkLst>
        </pc:spChg>
        <pc:spChg chg="mod">
          <ac:chgData name="Kobayashi, Aoi" userId="ef58220d-27c0-4129-aee6-d47e1f114e2f" providerId="ADAL" clId="{821B1626-A4CC-4AE3-8EA1-C676344BB3FF}" dt="2023-09-28T04:26:42.592" v="1605" actId="14100"/>
          <ac:spMkLst>
            <pc:docMk/>
            <pc:sldMk cId="2776085579" sldId="258"/>
            <ac:spMk id="59" creationId="{1C123FBE-1587-E01F-254D-8210C1044DE2}"/>
          </ac:spMkLst>
        </pc:spChg>
        <pc:grpChg chg="mod">
          <ac:chgData name="Kobayashi, Aoi" userId="ef58220d-27c0-4129-aee6-d47e1f114e2f" providerId="ADAL" clId="{821B1626-A4CC-4AE3-8EA1-C676344BB3FF}" dt="2023-09-28T04:25:01.484" v="1530" actId="1037"/>
          <ac:grpSpMkLst>
            <pc:docMk/>
            <pc:sldMk cId="2776085579" sldId="258"/>
            <ac:grpSpMk id="3" creationId="{442FA6D2-C275-916F-DD15-F07694C64350}"/>
          </ac:grpSpMkLst>
        </pc:grpChg>
        <pc:grpChg chg="mod">
          <ac:chgData name="Kobayashi, Aoi" userId="ef58220d-27c0-4129-aee6-d47e1f114e2f" providerId="ADAL" clId="{821B1626-A4CC-4AE3-8EA1-C676344BB3FF}" dt="2023-09-28T02:11:10.500" v="69" actId="1038"/>
          <ac:grpSpMkLst>
            <pc:docMk/>
            <pc:sldMk cId="2776085579" sldId="258"/>
            <ac:grpSpMk id="7" creationId="{169B776D-3E1F-783C-6270-2B216FE85F4F}"/>
          </ac:grpSpMkLst>
        </pc:grpChg>
        <pc:grpChg chg="del">
          <ac:chgData name="Kobayashi, Aoi" userId="ef58220d-27c0-4129-aee6-d47e1f114e2f" providerId="ADAL" clId="{821B1626-A4CC-4AE3-8EA1-C676344BB3FF}" dt="2023-09-28T04:25:33.141" v="1535" actId="478"/>
          <ac:grpSpMkLst>
            <pc:docMk/>
            <pc:sldMk cId="2776085579" sldId="258"/>
            <ac:grpSpMk id="15" creationId="{A5956028-0FD9-AFE5-11B3-98A7A60A9F05}"/>
          </ac:grpSpMkLst>
        </pc:grpChg>
        <pc:grpChg chg="del">
          <ac:chgData name="Kobayashi, Aoi" userId="ef58220d-27c0-4129-aee6-d47e1f114e2f" providerId="ADAL" clId="{821B1626-A4CC-4AE3-8EA1-C676344BB3FF}" dt="2023-09-28T04:24:01.487" v="1495" actId="478"/>
          <ac:grpSpMkLst>
            <pc:docMk/>
            <pc:sldMk cId="2776085579" sldId="258"/>
            <ac:grpSpMk id="16" creationId="{9EBDF3EA-82D3-8FC7-0ABB-C5E76C178DBE}"/>
          </ac:grpSpMkLst>
        </pc:grpChg>
        <pc:grpChg chg="del">
          <ac:chgData name="Kobayashi, Aoi" userId="ef58220d-27c0-4129-aee6-d47e1f114e2f" providerId="ADAL" clId="{821B1626-A4CC-4AE3-8EA1-C676344BB3FF}" dt="2023-09-28T04:24:01.487" v="1495" actId="478"/>
          <ac:grpSpMkLst>
            <pc:docMk/>
            <pc:sldMk cId="2776085579" sldId="258"/>
            <ac:grpSpMk id="17" creationId="{38CD38FD-A48C-4FBB-C2D2-0446D490C640}"/>
          </ac:grpSpMkLst>
        </pc:grpChg>
        <pc:grpChg chg="del">
          <ac:chgData name="Kobayashi, Aoi" userId="ef58220d-27c0-4129-aee6-d47e1f114e2f" providerId="ADAL" clId="{821B1626-A4CC-4AE3-8EA1-C676344BB3FF}" dt="2023-09-28T04:24:01.487" v="1495" actId="478"/>
          <ac:grpSpMkLst>
            <pc:docMk/>
            <pc:sldMk cId="2776085579" sldId="258"/>
            <ac:grpSpMk id="18" creationId="{8D6EA6B2-94E0-64A2-104E-18A81CA5B547}"/>
          </ac:grpSpMkLst>
        </pc:grpChg>
        <pc:grpChg chg="del">
          <ac:chgData name="Kobayashi, Aoi" userId="ef58220d-27c0-4129-aee6-d47e1f114e2f" providerId="ADAL" clId="{821B1626-A4CC-4AE3-8EA1-C676344BB3FF}" dt="2023-09-28T02:10:51.694" v="1" actId="478"/>
          <ac:grpSpMkLst>
            <pc:docMk/>
            <pc:sldMk cId="2776085579" sldId="258"/>
            <ac:grpSpMk id="19" creationId="{D6B8F486-0EE2-C35D-8BC3-A9E2D0B74C53}"/>
          </ac:grpSpMkLst>
        </pc:grpChg>
        <pc:grpChg chg="add mod">
          <ac:chgData name="Kobayashi, Aoi" userId="ef58220d-27c0-4129-aee6-d47e1f114e2f" providerId="ADAL" clId="{821B1626-A4CC-4AE3-8EA1-C676344BB3FF}" dt="2023-09-28T04:26:16.327" v="1542" actId="1076"/>
          <ac:grpSpMkLst>
            <pc:docMk/>
            <pc:sldMk cId="2776085579" sldId="258"/>
            <ac:grpSpMk id="51" creationId="{80DEC1E0-FBEA-E21A-CD04-F0E6AAAF3598}"/>
          </ac:grpSpMkLst>
        </pc:grpChg>
      </pc:sldChg>
      <pc:sldMasterChg chg="modSp mod addSldLayout delSldLayout modSldLayout">
        <pc:chgData name="Kobayashi, Aoi" userId="ef58220d-27c0-4129-aee6-d47e1f114e2f" providerId="ADAL" clId="{821B1626-A4CC-4AE3-8EA1-C676344BB3FF}" dt="2023-09-28T04:22:24.591" v="1288" actId="1076"/>
        <pc:sldMasterMkLst>
          <pc:docMk/>
          <pc:sldMasterMk cId="2909573340" sldId="2147483674"/>
        </pc:sldMasterMkLst>
        <pc:spChg chg="mod">
          <ac:chgData name="Kobayashi, Aoi" userId="ef58220d-27c0-4129-aee6-d47e1f114e2f" providerId="ADAL" clId="{821B1626-A4CC-4AE3-8EA1-C676344BB3FF}" dt="2023-09-28T04:22:24.591" v="1288" actId="1076"/>
          <ac:spMkLst>
            <pc:docMk/>
            <pc:sldMasterMk cId="2909573340" sldId="2147483674"/>
            <ac:spMk id="6" creationId="{00000000-0000-0000-0000-000000000000}"/>
          </ac:spMkLst>
        </pc:spChg>
        <pc:sldLayoutChg chg="del">
          <pc:chgData name="Kobayashi, Aoi" userId="ef58220d-27c0-4129-aee6-d47e1f114e2f" providerId="ADAL" clId="{821B1626-A4CC-4AE3-8EA1-C676344BB3FF}" dt="2023-09-28T04:21:42.413" v="1261" actId="2696"/>
          <pc:sldLayoutMkLst>
            <pc:docMk/>
            <pc:sldMasterMk cId="2909573340" sldId="2147483674"/>
            <pc:sldLayoutMk cId="3859772569" sldId="2147483675"/>
          </pc:sldLayoutMkLst>
        </pc:sldLayoutChg>
        <pc:sldLayoutChg chg="del">
          <pc:chgData name="Kobayashi, Aoi" userId="ef58220d-27c0-4129-aee6-d47e1f114e2f" providerId="ADAL" clId="{821B1626-A4CC-4AE3-8EA1-C676344BB3FF}" dt="2023-09-28T04:21:50.894" v="1277" actId="2696"/>
          <pc:sldLayoutMkLst>
            <pc:docMk/>
            <pc:sldMasterMk cId="2909573340" sldId="2147483674"/>
            <pc:sldLayoutMk cId="4153619603" sldId="2147483676"/>
          </pc:sldLayoutMkLst>
        </pc:sldLayoutChg>
        <pc:sldLayoutChg chg="del">
          <pc:chgData name="Kobayashi, Aoi" userId="ef58220d-27c0-4129-aee6-d47e1f114e2f" providerId="ADAL" clId="{821B1626-A4CC-4AE3-8EA1-C676344BB3FF}" dt="2023-09-28T04:21:51.382" v="1278" actId="2696"/>
          <pc:sldLayoutMkLst>
            <pc:docMk/>
            <pc:sldMasterMk cId="2909573340" sldId="2147483674"/>
            <pc:sldLayoutMk cId="2054967758" sldId="2147483677"/>
          </pc:sldLayoutMkLst>
        </pc:sldLayoutChg>
        <pc:sldLayoutChg chg="del">
          <pc:chgData name="Kobayashi, Aoi" userId="ef58220d-27c0-4129-aee6-d47e1f114e2f" providerId="ADAL" clId="{821B1626-A4CC-4AE3-8EA1-C676344BB3FF}" dt="2023-09-28T04:21:51.449" v="1279" actId="2696"/>
          <pc:sldLayoutMkLst>
            <pc:docMk/>
            <pc:sldMasterMk cId="2909573340" sldId="2147483674"/>
            <pc:sldLayoutMk cId="915972220" sldId="2147483678"/>
          </pc:sldLayoutMkLst>
        </pc:sldLayoutChg>
        <pc:sldLayoutChg chg="del">
          <pc:chgData name="Kobayashi, Aoi" userId="ef58220d-27c0-4129-aee6-d47e1f114e2f" providerId="ADAL" clId="{821B1626-A4CC-4AE3-8EA1-C676344BB3FF}" dt="2023-09-28T04:21:51.478" v="1280" actId="2696"/>
          <pc:sldLayoutMkLst>
            <pc:docMk/>
            <pc:sldMasterMk cId="2909573340" sldId="2147483674"/>
            <pc:sldLayoutMk cId="592291135" sldId="2147483679"/>
          </pc:sldLayoutMkLst>
        </pc:sldLayoutChg>
        <pc:sldLayoutChg chg="del">
          <pc:chgData name="Kobayashi, Aoi" userId="ef58220d-27c0-4129-aee6-d47e1f114e2f" providerId="ADAL" clId="{821B1626-A4CC-4AE3-8EA1-C676344BB3FF}" dt="2023-09-28T04:21:51.497" v="1281" actId="2696"/>
          <pc:sldLayoutMkLst>
            <pc:docMk/>
            <pc:sldMasterMk cId="2909573340" sldId="2147483674"/>
            <pc:sldLayoutMk cId="4007254559" sldId="2147483680"/>
          </pc:sldLayoutMkLst>
        </pc:sldLayoutChg>
        <pc:sldLayoutChg chg="del">
          <pc:chgData name="Kobayashi, Aoi" userId="ef58220d-27c0-4129-aee6-d47e1f114e2f" providerId="ADAL" clId="{821B1626-A4CC-4AE3-8EA1-C676344BB3FF}" dt="2023-09-28T04:21:44.302" v="1272" actId="2696"/>
          <pc:sldLayoutMkLst>
            <pc:docMk/>
            <pc:sldMasterMk cId="2909573340" sldId="2147483674"/>
            <pc:sldLayoutMk cId="3796716451" sldId="2147483681"/>
          </pc:sldLayoutMkLst>
        </pc:sldLayoutChg>
        <pc:sldLayoutChg chg="del">
          <pc:chgData name="Kobayashi, Aoi" userId="ef58220d-27c0-4129-aee6-d47e1f114e2f" providerId="ADAL" clId="{821B1626-A4CC-4AE3-8EA1-C676344BB3FF}" dt="2023-09-28T04:21:44.789" v="1273" actId="2696"/>
          <pc:sldLayoutMkLst>
            <pc:docMk/>
            <pc:sldMasterMk cId="2909573340" sldId="2147483674"/>
            <pc:sldLayoutMk cId="348420257" sldId="2147483682"/>
          </pc:sldLayoutMkLst>
        </pc:sldLayoutChg>
        <pc:sldLayoutChg chg="del">
          <pc:chgData name="Kobayashi, Aoi" userId="ef58220d-27c0-4129-aee6-d47e1f114e2f" providerId="ADAL" clId="{821B1626-A4CC-4AE3-8EA1-C676344BB3FF}" dt="2023-09-28T04:21:44.841" v="1274" actId="2696"/>
          <pc:sldLayoutMkLst>
            <pc:docMk/>
            <pc:sldMasterMk cId="2909573340" sldId="2147483674"/>
            <pc:sldLayoutMk cId="523608177" sldId="2147483683"/>
          </pc:sldLayoutMkLst>
        </pc:sldLayoutChg>
        <pc:sldLayoutChg chg="del">
          <pc:chgData name="Kobayashi, Aoi" userId="ef58220d-27c0-4129-aee6-d47e1f114e2f" providerId="ADAL" clId="{821B1626-A4CC-4AE3-8EA1-C676344BB3FF}" dt="2023-09-28T04:21:44.870" v="1275" actId="2696"/>
          <pc:sldLayoutMkLst>
            <pc:docMk/>
            <pc:sldMasterMk cId="2909573340" sldId="2147483674"/>
            <pc:sldLayoutMk cId="2426156467" sldId="2147483684"/>
          </pc:sldLayoutMkLst>
        </pc:sldLayoutChg>
        <pc:sldLayoutChg chg="del">
          <pc:chgData name="Kobayashi, Aoi" userId="ef58220d-27c0-4129-aee6-d47e1f114e2f" providerId="ADAL" clId="{821B1626-A4CC-4AE3-8EA1-C676344BB3FF}" dt="2023-09-28T04:21:44.903" v="1276" actId="2696"/>
          <pc:sldLayoutMkLst>
            <pc:docMk/>
            <pc:sldMasterMk cId="2909573340" sldId="2147483674"/>
            <pc:sldLayoutMk cId="3791518546" sldId="2147483685"/>
          </pc:sldLayoutMkLst>
        </pc:sldLayoutChg>
        <pc:sldLayoutChg chg="modSp mod">
          <pc:chgData name="Kobayashi, Aoi" userId="ef58220d-27c0-4129-aee6-d47e1f114e2f" providerId="ADAL" clId="{821B1626-A4CC-4AE3-8EA1-C676344BB3FF}" dt="2023-09-28T04:22:08.382" v="1284" actId="1076"/>
          <pc:sldLayoutMkLst>
            <pc:docMk/>
            <pc:sldMasterMk cId="2909573340" sldId="2147483674"/>
            <pc:sldLayoutMk cId="697389559" sldId="2147483686"/>
          </pc:sldLayoutMkLst>
          <pc:spChg chg="mod">
            <ac:chgData name="Kobayashi, Aoi" userId="ef58220d-27c0-4129-aee6-d47e1f114e2f" providerId="ADAL" clId="{821B1626-A4CC-4AE3-8EA1-C676344BB3FF}" dt="2023-09-28T04:22:08.382" v="1284" actId="1076"/>
            <ac:spMkLst>
              <pc:docMk/>
              <pc:sldMasterMk cId="2909573340" sldId="2147483674"/>
              <pc:sldLayoutMk cId="697389559" sldId="2147483686"/>
              <ac:spMk id="4" creationId="{00000000-0000-0000-0000-000000000000}"/>
            </ac:spMkLst>
          </pc:spChg>
        </pc:sldLayoutChg>
        <pc:sldLayoutChg chg="new del mod">
          <pc:chgData name="Kobayashi, Aoi" userId="ef58220d-27c0-4129-aee6-d47e1f114e2f" providerId="ADAL" clId="{821B1626-A4CC-4AE3-8EA1-C676344BB3FF}" dt="2023-09-28T04:21:44.043" v="1271" actId="2696"/>
          <pc:sldLayoutMkLst>
            <pc:docMk/>
            <pc:sldMasterMk cId="2909573340" sldId="2147483674"/>
            <pc:sldLayoutMk cId="1650110990" sldId="2147483687"/>
          </pc:sldLayoutMkLst>
        </pc:sldLayoutChg>
        <pc:sldLayoutChg chg="new del mod">
          <pc:chgData name="Kobayashi, Aoi" userId="ef58220d-27c0-4129-aee6-d47e1f114e2f" providerId="ADAL" clId="{821B1626-A4CC-4AE3-8EA1-C676344BB3FF}" dt="2023-09-28T04:21:43.506" v="1267" actId="2696"/>
          <pc:sldLayoutMkLst>
            <pc:docMk/>
            <pc:sldMasterMk cId="2909573340" sldId="2147483674"/>
            <pc:sldLayoutMk cId="2998191897" sldId="2147483687"/>
          </pc:sldLayoutMkLst>
        </pc:sldLayoutChg>
        <pc:sldLayoutChg chg="new del mod">
          <pc:chgData name="Kobayashi, Aoi" userId="ef58220d-27c0-4129-aee6-d47e1f114e2f" providerId="ADAL" clId="{821B1626-A4CC-4AE3-8EA1-C676344BB3FF}" dt="2023-09-28T04:21:42.930" v="1263" actId="2696"/>
          <pc:sldLayoutMkLst>
            <pc:docMk/>
            <pc:sldMasterMk cId="2909573340" sldId="2147483674"/>
            <pc:sldLayoutMk cId="3462898180" sldId="2147483687"/>
          </pc:sldLayoutMkLst>
        </pc:sldLayoutChg>
        <pc:sldLayoutChg chg="new del mod">
          <pc:chgData name="Kobayashi, Aoi" userId="ef58220d-27c0-4129-aee6-d47e1f114e2f" providerId="ADAL" clId="{821B1626-A4CC-4AE3-8EA1-C676344BB3FF}" dt="2023-09-28T04:21:43.776" v="1269" actId="2696"/>
          <pc:sldLayoutMkLst>
            <pc:docMk/>
            <pc:sldMasterMk cId="2909573340" sldId="2147483674"/>
            <pc:sldLayoutMk cId="3619254673" sldId="2147483687"/>
          </pc:sldLayoutMkLst>
        </pc:sldLayoutChg>
        <pc:sldLayoutChg chg="new del mod">
          <pc:chgData name="Kobayashi, Aoi" userId="ef58220d-27c0-4129-aee6-d47e1f114e2f" providerId="ADAL" clId="{821B1626-A4CC-4AE3-8EA1-C676344BB3FF}" dt="2023-09-28T04:21:43.249" v="1265" actId="2696"/>
          <pc:sldLayoutMkLst>
            <pc:docMk/>
            <pc:sldMasterMk cId="2909573340" sldId="2147483674"/>
            <pc:sldLayoutMk cId="3777634298" sldId="2147483687"/>
          </pc:sldLayoutMkLst>
        </pc:sldLayoutChg>
      </pc:sldMasterChg>
    </pc:docChg>
  </pc:docChgLst>
  <pc:docChgLst>
    <pc:chgData name="Niina, Kohei" userId="S::kohei.niina@tohmatsu.co.jp::6502ebbc-7a0c-4c84-ab40-99a82449d348" providerId="AD" clId="Web-{6DE18383-C67F-40C0-8DF9-80DC1AB49EF3}"/>
    <pc:docChg chg="addSld delSld modSection">
      <pc:chgData name="Niina, Kohei" userId="S::kohei.niina@tohmatsu.co.jp::6502ebbc-7a0c-4c84-ab40-99a82449d348" providerId="AD" clId="Web-{6DE18383-C67F-40C0-8DF9-80DC1AB49EF3}" dt="2023-10-01T22:13:55.696" v="1"/>
      <pc:docMkLst>
        <pc:docMk/>
      </pc:docMkLst>
      <pc:sldChg chg="new del">
        <pc:chgData name="Niina, Kohei" userId="S::kohei.niina@tohmatsu.co.jp::6502ebbc-7a0c-4c84-ab40-99a82449d348" providerId="AD" clId="Web-{6DE18383-C67F-40C0-8DF9-80DC1AB49EF3}" dt="2023-10-01T22:13:55.696" v="1"/>
        <pc:sldMkLst>
          <pc:docMk/>
          <pc:sldMk cId="3887969098" sldId="259"/>
        </pc:sldMkLst>
      </pc:sldChg>
    </pc:docChg>
  </pc:docChgLst>
  <pc:docChgLst>
    <pc:chgData name="Ishii, Yuka" userId="3ba63dc6-6e55-475b-be6b-cac8d79da101" providerId="ADAL" clId="{E0B024A7-BF10-4769-ADBC-F0FD32B5BCA4}"/>
    <pc:docChg chg="undo custSel modSld">
      <pc:chgData name="Ishii, Yuka" userId="3ba63dc6-6e55-475b-be6b-cac8d79da101" providerId="ADAL" clId="{E0B024A7-BF10-4769-ADBC-F0FD32B5BCA4}" dt="2023-09-28T04:34:19.817" v="275" actId="20577"/>
      <pc:docMkLst>
        <pc:docMk/>
      </pc:docMkLst>
      <pc:sldChg chg="addSp delSp modSp mod">
        <pc:chgData name="Ishii, Yuka" userId="3ba63dc6-6e55-475b-be6b-cac8d79da101" providerId="ADAL" clId="{E0B024A7-BF10-4769-ADBC-F0FD32B5BCA4}" dt="2023-09-28T04:34:19.817" v="275" actId="20577"/>
        <pc:sldMkLst>
          <pc:docMk/>
          <pc:sldMk cId="3623768495" sldId="257"/>
        </pc:sldMkLst>
        <pc:spChg chg="mod">
          <ac:chgData name="Ishii, Yuka" userId="3ba63dc6-6e55-475b-be6b-cac8d79da101" providerId="ADAL" clId="{E0B024A7-BF10-4769-ADBC-F0FD32B5BCA4}" dt="2023-09-28T04:34:19.817" v="275" actId="20577"/>
          <ac:spMkLst>
            <pc:docMk/>
            <pc:sldMk cId="3623768495" sldId="257"/>
            <ac:spMk id="6" creationId="{C6F136DC-8F39-132D-9660-931867FC9D5E}"/>
          </ac:spMkLst>
        </pc:spChg>
        <pc:spChg chg="mod">
          <ac:chgData name="Ishii, Yuka" userId="3ba63dc6-6e55-475b-be6b-cac8d79da101" providerId="ADAL" clId="{E0B024A7-BF10-4769-ADBC-F0FD32B5BCA4}" dt="2023-09-28T04:13:28.641" v="254" actId="14100"/>
          <ac:spMkLst>
            <pc:docMk/>
            <pc:sldMk cId="3623768495" sldId="257"/>
            <ac:spMk id="45" creationId="{70D074C3-4A3C-3B70-F723-79ABB447E15C}"/>
          </ac:spMkLst>
        </pc:spChg>
        <pc:spChg chg="mod topLvl">
          <ac:chgData name="Ishii, Yuka" userId="3ba63dc6-6e55-475b-be6b-cac8d79da101" providerId="ADAL" clId="{E0B024A7-BF10-4769-ADBC-F0FD32B5BCA4}" dt="2023-09-28T04:33:42.752" v="261" actId="164"/>
          <ac:spMkLst>
            <pc:docMk/>
            <pc:sldMk cId="3623768495" sldId="257"/>
            <ac:spMk id="51" creationId="{7A5B9F25-175E-7B33-5203-D678032CFC51}"/>
          </ac:spMkLst>
        </pc:spChg>
        <pc:spChg chg="mod topLvl">
          <ac:chgData name="Ishii, Yuka" userId="3ba63dc6-6e55-475b-be6b-cac8d79da101" providerId="ADAL" clId="{E0B024A7-BF10-4769-ADBC-F0FD32B5BCA4}" dt="2023-09-28T04:33:42.752" v="261" actId="164"/>
          <ac:spMkLst>
            <pc:docMk/>
            <pc:sldMk cId="3623768495" sldId="257"/>
            <ac:spMk id="58" creationId="{A8B95E82-36C7-8A4E-15F2-49E7C45F54D8}"/>
          </ac:spMkLst>
        </pc:spChg>
        <pc:grpChg chg="add mod">
          <ac:chgData name="Ishii, Yuka" userId="3ba63dc6-6e55-475b-be6b-cac8d79da101" providerId="ADAL" clId="{E0B024A7-BF10-4769-ADBC-F0FD32B5BCA4}" dt="2023-09-28T04:33:42.752" v="261" actId="164"/>
          <ac:grpSpMkLst>
            <pc:docMk/>
            <pc:sldMk cId="3623768495" sldId="257"/>
            <ac:grpSpMk id="2" creationId="{AC8396FF-4836-00FD-31C5-650C6CE2BD45}"/>
          </ac:grpSpMkLst>
        </pc:grpChg>
        <pc:grpChg chg="del">
          <ac:chgData name="Ishii, Yuka" userId="3ba63dc6-6e55-475b-be6b-cac8d79da101" providerId="ADAL" clId="{E0B024A7-BF10-4769-ADBC-F0FD32B5BCA4}" dt="2023-09-28T04:33:31.940" v="259" actId="165"/>
          <ac:grpSpMkLst>
            <pc:docMk/>
            <pc:sldMk cId="3623768495" sldId="257"/>
            <ac:grpSpMk id="27" creationId="{B81B47EB-8F1D-6A1B-6E6E-3499B53FDBA7}"/>
          </ac:grpSpMkLst>
        </pc:grpChg>
      </pc:sldChg>
      <pc:sldChg chg="addSp delSp modSp mod">
        <pc:chgData name="Ishii, Yuka" userId="3ba63dc6-6e55-475b-be6b-cac8d79da101" providerId="ADAL" clId="{E0B024A7-BF10-4769-ADBC-F0FD32B5BCA4}" dt="2023-09-28T04:33:53.233" v="264" actId="164"/>
        <pc:sldMkLst>
          <pc:docMk/>
          <pc:sldMk cId="2776085579" sldId="258"/>
        </pc:sldMkLst>
        <pc:spChg chg="mod topLvl">
          <ac:chgData name="Ishii, Yuka" userId="3ba63dc6-6e55-475b-be6b-cac8d79da101" providerId="ADAL" clId="{E0B024A7-BF10-4769-ADBC-F0FD32B5BCA4}" dt="2023-09-28T04:33:53.233" v="264" actId="164"/>
          <ac:spMkLst>
            <pc:docMk/>
            <pc:sldMk cId="2776085579" sldId="258"/>
            <ac:spMk id="8" creationId="{E59311C3-B272-E00A-06B3-BB9BF283EBE0}"/>
          </ac:spMkLst>
        </pc:spChg>
        <pc:spChg chg="mod topLvl">
          <ac:chgData name="Ishii, Yuka" userId="3ba63dc6-6e55-475b-be6b-cac8d79da101" providerId="ADAL" clId="{E0B024A7-BF10-4769-ADBC-F0FD32B5BCA4}" dt="2023-09-28T04:33:53.233" v="264" actId="164"/>
          <ac:spMkLst>
            <pc:docMk/>
            <pc:sldMk cId="2776085579" sldId="258"/>
            <ac:spMk id="12" creationId="{7950EF54-BF0E-B8C3-3663-661E2231A9B9}"/>
          </ac:spMkLst>
        </pc:spChg>
        <pc:spChg chg="add mod">
          <ac:chgData name="Ishii, Yuka" userId="3ba63dc6-6e55-475b-be6b-cac8d79da101" providerId="ADAL" clId="{E0B024A7-BF10-4769-ADBC-F0FD32B5BCA4}" dt="2023-09-28T04:13:44.668" v="258"/>
          <ac:spMkLst>
            <pc:docMk/>
            <pc:sldMk cId="2776085579" sldId="258"/>
            <ac:spMk id="14" creationId="{D2E33561-BA03-3CAF-3E96-8800B79E695B}"/>
          </ac:spMkLst>
        </pc:spChg>
        <pc:spChg chg="del mod">
          <ac:chgData name="Ishii, Yuka" userId="3ba63dc6-6e55-475b-be6b-cac8d79da101" providerId="ADAL" clId="{E0B024A7-BF10-4769-ADBC-F0FD32B5BCA4}" dt="2023-09-28T04:13:44.544" v="257" actId="478"/>
          <ac:spMkLst>
            <pc:docMk/>
            <pc:sldMk cId="2776085579" sldId="258"/>
            <ac:spMk id="45" creationId="{70D074C3-4A3C-3B70-F723-79ABB447E15C}"/>
          </ac:spMkLst>
        </pc:spChg>
        <pc:grpChg chg="del">
          <ac:chgData name="Ishii, Yuka" userId="3ba63dc6-6e55-475b-be6b-cac8d79da101" providerId="ADAL" clId="{E0B024A7-BF10-4769-ADBC-F0FD32B5BCA4}" dt="2023-09-28T04:33:48.177" v="262" actId="165"/>
          <ac:grpSpMkLst>
            <pc:docMk/>
            <pc:sldMk cId="2776085579" sldId="258"/>
            <ac:grpSpMk id="3" creationId="{442FA6D2-C275-916F-DD15-F07694C64350}"/>
          </ac:grpSpMkLst>
        </pc:grpChg>
        <pc:grpChg chg="add mod">
          <ac:chgData name="Ishii, Yuka" userId="3ba63dc6-6e55-475b-be6b-cac8d79da101" providerId="ADAL" clId="{E0B024A7-BF10-4769-ADBC-F0FD32B5BCA4}" dt="2023-09-28T04:33:53.233" v="264" actId="164"/>
          <ac:grpSpMkLst>
            <pc:docMk/>
            <pc:sldMk cId="2776085579" sldId="258"/>
            <ac:grpSpMk id="9" creationId="{513530DE-CAC1-DB17-6E92-C9EF841B09F8}"/>
          </ac:grpSpMkLst>
        </pc:grpChg>
      </pc:sldChg>
    </pc:docChg>
  </pc:docChgLst>
  <pc:docChgLst>
    <pc:chgData name="Ishii, Yuka" userId="3ba63dc6-6e55-475b-be6b-cac8d79da101" providerId="ADAL" clId="{6AF58198-B4FE-4A1C-95E8-6C00F51C1E20}"/>
    <pc:docChg chg="undo custSel addSld delSld modSld">
      <pc:chgData name="Ishii, Yuka" userId="3ba63dc6-6e55-475b-be6b-cac8d79da101" providerId="ADAL" clId="{6AF58198-B4FE-4A1C-95E8-6C00F51C1E20}" dt="2023-09-11T13:10:31.376" v="947" actId="20577"/>
      <pc:docMkLst>
        <pc:docMk/>
      </pc:docMkLst>
      <pc:sldChg chg="new add del">
        <pc:chgData name="Ishii, Yuka" userId="3ba63dc6-6e55-475b-be6b-cac8d79da101" providerId="ADAL" clId="{6AF58198-B4FE-4A1C-95E8-6C00F51C1E20}" dt="2023-09-11T12:43:07.791" v="10" actId="47"/>
        <pc:sldMkLst>
          <pc:docMk/>
          <pc:sldMk cId="3165350823" sldId="256"/>
        </pc:sldMkLst>
      </pc:sldChg>
      <pc:sldChg chg="addSp delSp modSp add del mod">
        <pc:chgData name="Ishii, Yuka" userId="3ba63dc6-6e55-475b-be6b-cac8d79da101" providerId="ADAL" clId="{6AF58198-B4FE-4A1C-95E8-6C00F51C1E20}" dt="2023-09-11T13:10:31.376" v="947" actId="20577"/>
        <pc:sldMkLst>
          <pc:docMk/>
          <pc:sldMk cId="3623768495" sldId="257"/>
        </pc:sldMkLst>
        <pc:spChg chg="add del mod">
          <ac:chgData name="Ishii, Yuka" userId="3ba63dc6-6e55-475b-be6b-cac8d79da101" providerId="ADAL" clId="{6AF58198-B4FE-4A1C-95E8-6C00F51C1E20}" dt="2023-09-11T13:02:00.128" v="591" actId="478"/>
          <ac:spMkLst>
            <pc:docMk/>
            <pc:sldMk cId="3623768495" sldId="257"/>
            <ac:spMk id="2" creationId="{55840CE6-2753-449F-A42D-608D24DAD087}"/>
          </ac:spMkLst>
        </pc:spChg>
        <pc:spChg chg="add del mod">
          <ac:chgData name="Ishii, Yuka" userId="3ba63dc6-6e55-475b-be6b-cac8d79da101" providerId="ADAL" clId="{6AF58198-B4FE-4A1C-95E8-6C00F51C1E20}" dt="2023-09-11T13:02:00.128" v="591" actId="478"/>
          <ac:spMkLst>
            <pc:docMk/>
            <pc:sldMk cId="3623768495" sldId="257"/>
            <ac:spMk id="3" creationId="{2C672BBA-60D1-AABB-FD40-6D7876A96EC6}"/>
          </ac:spMkLst>
        </pc:spChg>
        <pc:spChg chg="add mod">
          <ac:chgData name="Ishii, Yuka" userId="3ba63dc6-6e55-475b-be6b-cac8d79da101" providerId="ADAL" clId="{6AF58198-B4FE-4A1C-95E8-6C00F51C1E20}" dt="2023-09-11T13:02:33.428" v="598" actId="12788"/>
          <ac:spMkLst>
            <pc:docMk/>
            <pc:sldMk cId="3623768495" sldId="257"/>
            <ac:spMk id="4" creationId="{FD1DBB9A-DE18-A086-AF2C-C0E4C0FFBACC}"/>
          </ac:spMkLst>
        </pc:spChg>
        <pc:spChg chg="add mod">
          <ac:chgData name="Ishii, Yuka" userId="3ba63dc6-6e55-475b-be6b-cac8d79da101" providerId="ADAL" clId="{6AF58198-B4FE-4A1C-95E8-6C00F51C1E20}" dt="2023-09-11T13:02:14.143" v="594" actId="554"/>
          <ac:spMkLst>
            <pc:docMk/>
            <pc:sldMk cId="3623768495" sldId="257"/>
            <ac:spMk id="5" creationId="{E5D5A7CE-FE3E-7DBC-DB72-ADB5F8CAB6C6}"/>
          </ac:spMkLst>
        </pc:spChg>
        <pc:spChg chg="mod">
          <ac:chgData name="Ishii, Yuka" userId="3ba63dc6-6e55-475b-be6b-cac8d79da101" providerId="ADAL" clId="{6AF58198-B4FE-4A1C-95E8-6C00F51C1E20}" dt="2023-09-11T12:53:10.919" v="343" actId="552"/>
          <ac:spMkLst>
            <pc:docMk/>
            <pc:sldMk cId="3623768495" sldId="257"/>
            <ac:spMk id="6" creationId="{C6F136DC-8F39-132D-9660-931867FC9D5E}"/>
          </ac:spMkLst>
        </pc:spChg>
        <pc:spChg chg="mod">
          <ac:chgData name="Ishii, Yuka" userId="3ba63dc6-6e55-475b-be6b-cac8d79da101" providerId="ADAL" clId="{6AF58198-B4FE-4A1C-95E8-6C00F51C1E20}" dt="2023-09-11T12:50:02.096" v="251" actId="14100"/>
          <ac:spMkLst>
            <pc:docMk/>
            <pc:sldMk cId="3623768495" sldId="257"/>
            <ac:spMk id="8" creationId="{E59311C3-B272-E00A-06B3-BB9BF283EBE0}"/>
          </ac:spMkLst>
        </pc:spChg>
        <pc:spChg chg="mod">
          <ac:chgData name="Ishii, Yuka" userId="3ba63dc6-6e55-475b-be6b-cac8d79da101" providerId="ADAL" clId="{6AF58198-B4FE-4A1C-95E8-6C00F51C1E20}" dt="2023-09-11T13:00:30.176" v="573" actId="12788"/>
          <ac:spMkLst>
            <pc:docMk/>
            <pc:sldMk cId="3623768495" sldId="257"/>
            <ac:spMk id="9" creationId="{706E7B8F-E9EC-3C64-B5A7-0FF425D9437A}"/>
          </ac:spMkLst>
        </pc:spChg>
        <pc:spChg chg="mod">
          <ac:chgData name="Ishii, Yuka" userId="3ba63dc6-6e55-475b-be6b-cac8d79da101" providerId="ADAL" clId="{6AF58198-B4FE-4A1C-95E8-6C00F51C1E20}" dt="2023-09-11T12:56:30.754" v="415"/>
          <ac:spMkLst>
            <pc:docMk/>
            <pc:sldMk cId="3623768495" sldId="257"/>
            <ac:spMk id="10" creationId="{333BAE42-4813-B951-CBB5-EF8762343314}"/>
          </ac:spMkLst>
        </pc:spChg>
        <pc:spChg chg="mod">
          <ac:chgData name="Ishii, Yuka" userId="3ba63dc6-6e55-475b-be6b-cac8d79da101" providerId="ADAL" clId="{6AF58198-B4FE-4A1C-95E8-6C00F51C1E20}" dt="2023-09-11T13:01:33.936" v="590" actId="208"/>
          <ac:spMkLst>
            <pc:docMk/>
            <pc:sldMk cId="3623768495" sldId="257"/>
            <ac:spMk id="11" creationId="{4EB13487-54D7-42BC-20DA-E86DAAE6BBF3}"/>
          </ac:spMkLst>
        </pc:spChg>
        <pc:spChg chg="mod">
          <ac:chgData name="Ishii, Yuka" userId="3ba63dc6-6e55-475b-be6b-cac8d79da101" providerId="ADAL" clId="{6AF58198-B4FE-4A1C-95E8-6C00F51C1E20}" dt="2023-09-11T12:47:10.901" v="156" actId="554"/>
          <ac:spMkLst>
            <pc:docMk/>
            <pc:sldMk cId="3623768495" sldId="257"/>
            <ac:spMk id="12" creationId="{7950EF54-BF0E-B8C3-3663-661E2231A9B9}"/>
          </ac:spMkLst>
        </pc:spChg>
        <pc:spChg chg="mod">
          <ac:chgData name="Ishii, Yuka" userId="3ba63dc6-6e55-475b-be6b-cac8d79da101" providerId="ADAL" clId="{6AF58198-B4FE-4A1C-95E8-6C00F51C1E20}" dt="2023-09-11T12:53:10.919" v="343" actId="552"/>
          <ac:spMkLst>
            <pc:docMk/>
            <pc:sldMk cId="3623768495" sldId="257"/>
            <ac:spMk id="13" creationId="{F1EC8D81-9769-214E-4F12-B700FE62FDA6}"/>
          </ac:spMkLst>
        </pc:spChg>
        <pc:spChg chg="add del mod">
          <ac:chgData name="Ishii, Yuka" userId="3ba63dc6-6e55-475b-be6b-cac8d79da101" providerId="ADAL" clId="{6AF58198-B4FE-4A1C-95E8-6C00F51C1E20}" dt="2023-09-11T12:59:31.010" v="563" actId="478"/>
          <ac:spMkLst>
            <pc:docMk/>
            <pc:sldMk cId="3623768495" sldId="257"/>
            <ac:spMk id="14" creationId="{4D08180A-9570-3FB1-F69D-B6E5FD0C900F}"/>
          </ac:spMkLst>
        </pc:spChg>
        <pc:spChg chg="add del mod">
          <ac:chgData name="Ishii, Yuka" userId="3ba63dc6-6e55-475b-be6b-cac8d79da101" providerId="ADAL" clId="{6AF58198-B4FE-4A1C-95E8-6C00F51C1E20}" dt="2023-09-11T12:59:33.301" v="564" actId="478"/>
          <ac:spMkLst>
            <pc:docMk/>
            <pc:sldMk cId="3623768495" sldId="257"/>
            <ac:spMk id="15" creationId="{CDAC0377-51E8-9BBE-340F-C6707357EB14}"/>
          </ac:spMkLst>
        </pc:spChg>
        <pc:spChg chg="add del mod">
          <ac:chgData name="Ishii, Yuka" userId="3ba63dc6-6e55-475b-be6b-cac8d79da101" providerId="ADAL" clId="{6AF58198-B4FE-4A1C-95E8-6C00F51C1E20}" dt="2023-09-11T12:59:31.010" v="563" actId="478"/>
          <ac:spMkLst>
            <pc:docMk/>
            <pc:sldMk cId="3623768495" sldId="257"/>
            <ac:spMk id="16" creationId="{0751D684-4298-9070-492C-69F82F7BD4B2}"/>
          </ac:spMkLst>
        </pc:spChg>
        <pc:spChg chg="add del mod">
          <ac:chgData name="Ishii, Yuka" userId="3ba63dc6-6e55-475b-be6b-cac8d79da101" providerId="ADAL" clId="{6AF58198-B4FE-4A1C-95E8-6C00F51C1E20}" dt="2023-09-11T12:59:33.301" v="564" actId="478"/>
          <ac:spMkLst>
            <pc:docMk/>
            <pc:sldMk cId="3623768495" sldId="257"/>
            <ac:spMk id="17" creationId="{5594DE72-344B-0AD2-86AC-92DC7AA75FCD}"/>
          </ac:spMkLst>
        </pc:spChg>
        <pc:spChg chg="add del mod">
          <ac:chgData name="Ishii, Yuka" userId="3ba63dc6-6e55-475b-be6b-cac8d79da101" providerId="ADAL" clId="{6AF58198-B4FE-4A1C-95E8-6C00F51C1E20}" dt="2023-09-11T12:59:37.567" v="565" actId="478"/>
          <ac:spMkLst>
            <pc:docMk/>
            <pc:sldMk cId="3623768495" sldId="257"/>
            <ac:spMk id="18" creationId="{B1DEADF3-2091-5E15-DCCB-5A51E4BEBF2E}"/>
          </ac:spMkLst>
        </pc:spChg>
        <pc:spChg chg="add del mod">
          <ac:chgData name="Ishii, Yuka" userId="3ba63dc6-6e55-475b-be6b-cac8d79da101" providerId="ADAL" clId="{6AF58198-B4FE-4A1C-95E8-6C00F51C1E20}" dt="2023-09-11T12:59:37.567" v="565" actId="478"/>
          <ac:spMkLst>
            <pc:docMk/>
            <pc:sldMk cId="3623768495" sldId="257"/>
            <ac:spMk id="19" creationId="{AAA274B3-FE3F-407D-0260-4DE80BA629A9}"/>
          </ac:spMkLst>
        </pc:spChg>
        <pc:spChg chg="add mod">
          <ac:chgData name="Ishii, Yuka" userId="3ba63dc6-6e55-475b-be6b-cac8d79da101" providerId="ADAL" clId="{6AF58198-B4FE-4A1C-95E8-6C00F51C1E20}" dt="2023-09-11T13:01:33.936" v="590" actId="208"/>
          <ac:spMkLst>
            <pc:docMk/>
            <pc:sldMk cId="3623768495" sldId="257"/>
            <ac:spMk id="20" creationId="{7C1E094B-288B-12F7-051D-9960C0C5D76E}"/>
          </ac:spMkLst>
        </pc:spChg>
        <pc:spChg chg="add mod">
          <ac:chgData name="Ishii, Yuka" userId="3ba63dc6-6e55-475b-be6b-cac8d79da101" providerId="ADAL" clId="{6AF58198-B4FE-4A1C-95E8-6C00F51C1E20}" dt="2023-09-11T13:01:33.936" v="590" actId="208"/>
          <ac:spMkLst>
            <pc:docMk/>
            <pc:sldMk cId="3623768495" sldId="257"/>
            <ac:spMk id="21" creationId="{E10E0497-950E-CA6C-B131-0710C617B25C}"/>
          </ac:spMkLst>
        </pc:spChg>
        <pc:spChg chg="add mod">
          <ac:chgData name="Ishii, Yuka" userId="3ba63dc6-6e55-475b-be6b-cac8d79da101" providerId="ADAL" clId="{6AF58198-B4FE-4A1C-95E8-6C00F51C1E20}" dt="2023-09-11T12:54:03.295" v="361" actId="14100"/>
          <ac:spMkLst>
            <pc:docMk/>
            <pc:sldMk cId="3623768495" sldId="257"/>
            <ac:spMk id="22" creationId="{F579E50D-4425-B556-3FE3-CA99EDF54B85}"/>
          </ac:spMkLst>
        </pc:spChg>
        <pc:spChg chg="add mod">
          <ac:chgData name="Ishii, Yuka" userId="3ba63dc6-6e55-475b-be6b-cac8d79da101" providerId="ADAL" clId="{6AF58198-B4FE-4A1C-95E8-6C00F51C1E20}" dt="2023-09-11T12:55:05.934" v="383" actId="20577"/>
          <ac:spMkLst>
            <pc:docMk/>
            <pc:sldMk cId="3623768495" sldId="257"/>
            <ac:spMk id="23" creationId="{3C59940E-9A73-BF3C-EAAB-5D2B2DB51B52}"/>
          </ac:spMkLst>
        </pc:spChg>
        <pc:spChg chg="add mod">
          <ac:chgData name="Ishii, Yuka" userId="3ba63dc6-6e55-475b-be6b-cac8d79da101" providerId="ADAL" clId="{6AF58198-B4FE-4A1C-95E8-6C00F51C1E20}" dt="2023-09-11T12:54:35.880" v="365" actId="1076"/>
          <ac:spMkLst>
            <pc:docMk/>
            <pc:sldMk cId="3623768495" sldId="257"/>
            <ac:spMk id="24" creationId="{BA8A7158-B5BB-6C66-5E38-6552AEF4A95D}"/>
          </ac:spMkLst>
        </pc:spChg>
        <pc:spChg chg="add mod">
          <ac:chgData name="Ishii, Yuka" userId="3ba63dc6-6e55-475b-be6b-cac8d79da101" providerId="ADAL" clId="{6AF58198-B4FE-4A1C-95E8-6C00F51C1E20}" dt="2023-09-11T12:54:35.880" v="365" actId="1076"/>
          <ac:spMkLst>
            <pc:docMk/>
            <pc:sldMk cId="3623768495" sldId="257"/>
            <ac:spMk id="25" creationId="{0E5CE8F3-F8FD-7442-3FA3-94F7FA943A93}"/>
          </ac:spMkLst>
        </pc:spChg>
        <pc:spChg chg="add mod">
          <ac:chgData name="Ishii, Yuka" userId="3ba63dc6-6e55-475b-be6b-cac8d79da101" providerId="ADAL" clId="{6AF58198-B4FE-4A1C-95E8-6C00F51C1E20}" dt="2023-09-11T12:54:35.880" v="365" actId="1076"/>
          <ac:spMkLst>
            <pc:docMk/>
            <pc:sldMk cId="3623768495" sldId="257"/>
            <ac:spMk id="26" creationId="{8B80550C-3137-BAEB-2518-2F49F11C63BA}"/>
          </ac:spMkLst>
        </pc:spChg>
        <pc:spChg chg="add del mod">
          <ac:chgData name="Ishii, Yuka" userId="3ba63dc6-6e55-475b-be6b-cac8d79da101" providerId="ADAL" clId="{6AF58198-B4FE-4A1C-95E8-6C00F51C1E20}" dt="2023-09-11T12:56:07.910" v="412" actId="478"/>
          <ac:spMkLst>
            <pc:docMk/>
            <pc:sldMk cId="3623768495" sldId="257"/>
            <ac:spMk id="27" creationId="{2ABFE132-C711-9418-1B43-0835E1E5101D}"/>
          </ac:spMkLst>
        </pc:spChg>
        <pc:spChg chg="add del mod">
          <ac:chgData name="Ishii, Yuka" userId="3ba63dc6-6e55-475b-be6b-cac8d79da101" providerId="ADAL" clId="{6AF58198-B4FE-4A1C-95E8-6C00F51C1E20}" dt="2023-09-11T12:56:07.910" v="412" actId="478"/>
          <ac:spMkLst>
            <pc:docMk/>
            <pc:sldMk cId="3623768495" sldId="257"/>
            <ac:spMk id="28" creationId="{EA06B1D0-F929-7E59-93E7-3811E5E2ECD0}"/>
          </ac:spMkLst>
        </pc:spChg>
        <pc:spChg chg="add del mod">
          <ac:chgData name="Ishii, Yuka" userId="3ba63dc6-6e55-475b-be6b-cac8d79da101" providerId="ADAL" clId="{6AF58198-B4FE-4A1C-95E8-6C00F51C1E20}" dt="2023-09-11T12:56:07.910" v="412" actId="478"/>
          <ac:spMkLst>
            <pc:docMk/>
            <pc:sldMk cId="3623768495" sldId="257"/>
            <ac:spMk id="29" creationId="{8F9CA65B-3208-9D8B-D74A-70622108B560}"/>
          </ac:spMkLst>
        </pc:spChg>
        <pc:spChg chg="add del mod">
          <ac:chgData name="Ishii, Yuka" userId="3ba63dc6-6e55-475b-be6b-cac8d79da101" providerId="ADAL" clId="{6AF58198-B4FE-4A1C-95E8-6C00F51C1E20}" dt="2023-09-11T12:56:07.910" v="412" actId="478"/>
          <ac:spMkLst>
            <pc:docMk/>
            <pc:sldMk cId="3623768495" sldId="257"/>
            <ac:spMk id="30" creationId="{22173AAB-3391-2D21-C43E-29D7F16F7CB8}"/>
          </ac:spMkLst>
        </pc:spChg>
        <pc:spChg chg="add mod">
          <ac:chgData name="Ishii, Yuka" userId="3ba63dc6-6e55-475b-be6b-cac8d79da101" providerId="ADAL" clId="{6AF58198-B4FE-4A1C-95E8-6C00F51C1E20}" dt="2023-09-11T12:55:40.437" v="391" actId="554"/>
          <ac:spMkLst>
            <pc:docMk/>
            <pc:sldMk cId="3623768495" sldId="257"/>
            <ac:spMk id="31" creationId="{8441653C-2B4D-018F-888F-D8C9444D4862}"/>
          </ac:spMkLst>
        </pc:spChg>
        <pc:spChg chg="add mod">
          <ac:chgData name="Ishii, Yuka" userId="3ba63dc6-6e55-475b-be6b-cac8d79da101" providerId="ADAL" clId="{6AF58198-B4FE-4A1C-95E8-6C00F51C1E20}" dt="2023-09-11T12:55:54.848" v="394" actId="1076"/>
          <ac:spMkLst>
            <pc:docMk/>
            <pc:sldMk cId="3623768495" sldId="257"/>
            <ac:spMk id="32" creationId="{DFDC7D29-7FCF-BA9A-347F-C28E3EB0762B}"/>
          </ac:spMkLst>
        </pc:spChg>
        <pc:spChg chg="add mod">
          <ac:chgData name="Ishii, Yuka" userId="3ba63dc6-6e55-475b-be6b-cac8d79da101" providerId="ADAL" clId="{6AF58198-B4FE-4A1C-95E8-6C00F51C1E20}" dt="2023-09-11T12:55:43.757" v="392" actId="555"/>
          <ac:spMkLst>
            <pc:docMk/>
            <pc:sldMk cId="3623768495" sldId="257"/>
            <ac:spMk id="33" creationId="{4E9BE460-17B4-9ADA-7366-AC97AE409470}"/>
          </ac:spMkLst>
        </pc:spChg>
        <pc:spChg chg="add mod">
          <ac:chgData name="Ishii, Yuka" userId="3ba63dc6-6e55-475b-be6b-cac8d79da101" providerId="ADAL" clId="{6AF58198-B4FE-4A1C-95E8-6C00F51C1E20}" dt="2023-09-11T12:56:03.005" v="411" actId="20577"/>
          <ac:spMkLst>
            <pc:docMk/>
            <pc:sldMk cId="3623768495" sldId="257"/>
            <ac:spMk id="34" creationId="{DCFFE26D-8815-6B61-D77D-C88D21D4CC26}"/>
          </ac:spMkLst>
        </pc:spChg>
        <pc:spChg chg="add mod">
          <ac:chgData name="Ishii, Yuka" userId="3ba63dc6-6e55-475b-be6b-cac8d79da101" providerId="ADAL" clId="{6AF58198-B4FE-4A1C-95E8-6C00F51C1E20}" dt="2023-09-11T12:55:28.899" v="389" actId="571"/>
          <ac:spMkLst>
            <pc:docMk/>
            <pc:sldMk cId="3623768495" sldId="257"/>
            <ac:spMk id="35" creationId="{BF452FC3-79C3-01DE-E974-CD16C1ABE915}"/>
          </ac:spMkLst>
        </pc:spChg>
        <pc:spChg chg="add mod">
          <ac:chgData name="Ishii, Yuka" userId="3ba63dc6-6e55-475b-be6b-cac8d79da101" providerId="ADAL" clId="{6AF58198-B4FE-4A1C-95E8-6C00F51C1E20}" dt="2023-09-11T12:55:28.899" v="389" actId="571"/>
          <ac:spMkLst>
            <pc:docMk/>
            <pc:sldMk cId="3623768495" sldId="257"/>
            <ac:spMk id="36" creationId="{B672A25C-7418-D1A5-04D6-59D9F565F015}"/>
          </ac:spMkLst>
        </pc:spChg>
        <pc:spChg chg="add mod">
          <ac:chgData name="Ishii, Yuka" userId="3ba63dc6-6e55-475b-be6b-cac8d79da101" providerId="ADAL" clId="{6AF58198-B4FE-4A1C-95E8-6C00F51C1E20}" dt="2023-09-11T12:55:28.899" v="389" actId="571"/>
          <ac:spMkLst>
            <pc:docMk/>
            <pc:sldMk cId="3623768495" sldId="257"/>
            <ac:spMk id="37" creationId="{DAD4B9C9-4845-82B0-C346-AAA3EB2B495A}"/>
          </ac:spMkLst>
        </pc:spChg>
        <pc:spChg chg="add mod">
          <ac:chgData name="Ishii, Yuka" userId="3ba63dc6-6e55-475b-be6b-cac8d79da101" providerId="ADAL" clId="{6AF58198-B4FE-4A1C-95E8-6C00F51C1E20}" dt="2023-09-11T13:01:33.936" v="590" actId="208"/>
          <ac:spMkLst>
            <pc:docMk/>
            <pc:sldMk cId="3623768495" sldId="257"/>
            <ac:spMk id="38" creationId="{EE685479-3F5D-F201-FB0C-4BEFA13AF3C6}"/>
          </ac:spMkLst>
        </pc:spChg>
        <pc:spChg chg="add mod">
          <ac:chgData name="Ishii, Yuka" userId="3ba63dc6-6e55-475b-be6b-cac8d79da101" providerId="ADAL" clId="{6AF58198-B4FE-4A1C-95E8-6C00F51C1E20}" dt="2023-09-11T13:05:11.695" v="801" actId="14100"/>
          <ac:spMkLst>
            <pc:docMk/>
            <pc:sldMk cId="3623768495" sldId="257"/>
            <ac:spMk id="39" creationId="{3C0A55CC-C35C-1DD1-5273-5E67309692D6}"/>
          </ac:spMkLst>
        </pc:spChg>
        <pc:spChg chg="add mod">
          <ac:chgData name="Ishii, Yuka" userId="3ba63dc6-6e55-475b-be6b-cac8d79da101" providerId="ADAL" clId="{6AF58198-B4FE-4A1C-95E8-6C00F51C1E20}" dt="2023-09-11T12:59:29.148" v="562" actId="571"/>
          <ac:spMkLst>
            <pc:docMk/>
            <pc:sldMk cId="3623768495" sldId="257"/>
            <ac:spMk id="40" creationId="{699C181F-1003-D168-E5CA-AA2D9B34AD61}"/>
          </ac:spMkLst>
        </pc:spChg>
        <pc:spChg chg="add mod">
          <ac:chgData name="Ishii, Yuka" userId="3ba63dc6-6e55-475b-be6b-cac8d79da101" providerId="ADAL" clId="{6AF58198-B4FE-4A1C-95E8-6C00F51C1E20}" dt="2023-09-11T12:59:29.148" v="562" actId="571"/>
          <ac:spMkLst>
            <pc:docMk/>
            <pc:sldMk cId="3623768495" sldId="257"/>
            <ac:spMk id="41" creationId="{BE5D833D-B726-17D4-72F4-C8129D8702AD}"/>
          </ac:spMkLst>
        </pc:spChg>
        <pc:spChg chg="add mod">
          <ac:chgData name="Ishii, Yuka" userId="3ba63dc6-6e55-475b-be6b-cac8d79da101" providerId="ADAL" clId="{6AF58198-B4FE-4A1C-95E8-6C00F51C1E20}" dt="2023-09-11T13:05:32.902" v="807" actId="14100"/>
          <ac:spMkLst>
            <pc:docMk/>
            <pc:sldMk cId="3623768495" sldId="257"/>
            <ac:spMk id="44" creationId="{234FA5C0-E8E3-8E6A-3B45-8CCF457AE077}"/>
          </ac:spMkLst>
        </pc:spChg>
        <pc:spChg chg="add mod">
          <ac:chgData name="Ishii, Yuka" userId="3ba63dc6-6e55-475b-be6b-cac8d79da101" providerId="ADAL" clId="{6AF58198-B4FE-4A1C-95E8-6C00F51C1E20}" dt="2023-09-11T13:08:08.971" v="910" actId="14100"/>
          <ac:spMkLst>
            <pc:docMk/>
            <pc:sldMk cId="3623768495" sldId="257"/>
            <ac:spMk id="45" creationId="{70D074C3-4A3C-3B70-F723-79ABB447E15C}"/>
          </ac:spMkLst>
        </pc:spChg>
        <pc:spChg chg="mod">
          <ac:chgData name="Ishii, Yuka" userId="3ba63dc6-6e55-475b-be6b-cac8d79da101" providerId="ADAL" clId="{6AF58198-B4FE-4A1C-95E8-6C00F51C1E20}" dt="2023-09-11T12:49:03.508" v="208" actId="14100"/>
          <ac:spMkLst>
            <pc:docMk/>
            <pc:sldMk cId="3623768495" sldId="257"/>
            <ac:spMk id="78" creationId="{1297F381-7864-8274-6F6A-9772E68B088A}"/>
          </ac:spMkLst>
        </pc:spChg>
        <pc:spChg chg="mod">
          <ac:chgData name="Ishii, Yuka" userId="3ba63dc6-6e55-475b-be6b-cac8d79da101" providerId="ADAL" clId="{6AF58198-B4FE-4A1C-95E8-6C00F51C1E20}" dt="2023-09-11T13:10:31.376" v="947" actId="20577"/>
          <ac:spMkLst>
            <pc:docMk/>
            <pc:sldMk cId="3623768495" sldId="257"/>
            <ac:spMk id="79" creationId="{7D451FB5-9A8F-5AAE-E3DE-B201C0D3E568}"/>
          </ac:spMkLst>
        </pc:spChg>
        <pc:spChg chg="mod">
          <ac:chgData name="Ishii, Yuka" userId="3ba63dc6-6e55-475b-be6b-cac8d79da101" providerId="ADAL" clId="{6AF58198-B4FE-4A1C-95E8-6C00F51C1E20}" dt="2023-09-11T13:08:20.368" v="914" actId="14100"/>
          <ac:spMkLst>
            <pc:docMk/>
            <pc:sldMk cId="3623768495" sldId="257"/>
            <ac:spMk id="80" creationId="{242A27F1-EA5A-669F-46BB-B4900688FC99}"/>
          </ac:spMkLst>
        </pc:spChg>
        <pc:spChg chg="mod">
          <ac:chgData name="Ishii, Yuka" userId="3ba63dc6-6e55-475b-be6b-cac8d79da101" providerId="ADAL" clId="{6AF58198-B4FE-4A1C-95E8-6C00F51C1E20}" dt="2023-09-11T12:48:58.080" v="207" actId="1038"/>
          <ac:spMkLst>
            <pc:docMk/>
            <pc:sldMk cId="3623768495" sldId="257"/>
            <ac:spMk id="81" creationId="{75132069-6214-35DC-0484-1EE61482B001}"/>
          </ac:spMkLst>
        </pc:spChg>
        <pc:spChg chg="mod">
          <ac:chgData name="Ishii, Yuka" userId="3ba63dc6-6e55-475b-be6b-cac8d79da101" providerId="ADAL" clId="{6AF58198-B4FE-4A1C-95E8-6C00F51C1E20}" dt="2023-09-11T12:48:58.080" v="207" actId="1038"/>
          <ac:spMkLst>
            <pc:docMk/>
            <pc:sldMk cId="3623768495" sldId="257"/>
            <ac:spMk id="82" creationId="{BEF68B6A-4A61-D549-5FFC-42D14BB655F2}"/>
          </ac:spMkLst>
        </pc:spChg>
        <pc:spChg chg="mod">
          <ac:chgData name="Ishii, Yuka" userId="3ba63dc6-6e55-475b-be6b-cac8d79da101" providerId="ADAL" clId="{6AF58198-B4FE-4A1C-95E8-6C00F51C1E20}" dt="2023-09-11T13:08:18.370" v="913" actId="14100"/>
          <ac:spMkLst>
            <pc:docMk/>
            <pc:sldMk cId="3623768495" sldId="257"/>
            <ac:spMk id="83" creationId="{0E18FC96-4ABE-B074-9CEA-3C0FFFDBC996}"/>
          </ac:spMkLst>
        </pc:spChg>
        <pc:spChg chg="mod">
          <ac:chgData name="Ishii, Yuka" userId="3ba63dc6-6e55-475b-be6b-cac8d79da101" providerId="ADAL" clId="{6AF58198-B4FE-4A1C-95E8-6C00F51C1E20}" dt="2023-09-11T12:49:03.508" v="208" actId="14100"/>
          <ac:spMkLst>
            <pc:docMk/>
            <pc:sldMk cId="3623768495" sldId="257"/>
            <ac:spMk id="86" creationId="{382ACDB9-C2B6-045D-F391-D23C1724F396}"/>
          </ac:spMkLst>
        </pc:spChg>
        <pc:spChg chg="mod">
          <ac:chgData name="Ishii, Yuka" userId="3ba63dc6-6e55-475b-be6b-cac8d79da101" providerId="ADAL" clId="{6AF58198-B4FE-4A1C-95E8-6C00F51C1E20}" dt="2023-09-11T12:44:09.012" v="14" actId="552"/>
          <ac:spMkLst>
            <pc:docMk/>
            <pc:sldMk cId="3623768495" sldId="257"/>
            <ac:spMk id="87" creationId="{3CAA6A7C-897C-188A-E071-CD3CE444DE91}"/>
          </ac:spMkLst>
        </pc:spChg>
        <pc:graphicFrameChg chg="del mod modGraphic">
          <ac:chgData name="Ishii, Yuka" userId="3ba63dc6-6e55-475b-be6b-cac8d79da101" providerId="ADAL" clId="{6AF58198-B4FE-4A1C-95E8-6C00F51C1E20}" dt="2023-09-11T12:52:32.647" v="306" actId="478"/>
          <ac:graphicFrameMkLst>
            <pc:docMk/>
            <pc:sldMk cId="3623768495" sldId="257"/>
            <ac:graphicFrameMk id="7" creationId="{1610B8FE-56A0-F15E-1B14-2040C6480E21}"/>
          </ac:graphicFrameMkLst>
        </pc:graphicFrameChg>
        <pc:graphicFrameChg chg="add del mod modGraphic">
          <ac:chgData name="Ishii, Yuka" userId="3ba63dc6-6e55-475b-be6b-cac8d79da101" providerId="ADAL" clId="{6AF58198-B4FE-4A1C-95E8-6C00F51C1E20}" dt="2023-09-11T13:04:39.846" v="796" actId="478"/>
          <ac:graphicFrameMkLst>
            <pc:docMk/>
            <pc:sldMk cId="3623768495" sldId="257"/>
            <ac:graphicFrameMk id="42" creationId="{DF86FF84-8DA1-94B5-C960-00B50B535CA2}"/>
          </ac:graphicFrameMkLst>
        </pc:graphicFrameChg>
        <pc:graphicFrameChg chg="add del mod">
          <ac:chgData name="Ishii, Yuka" userId="3ba63dc6-6e55-475b-be6b-cac8d79da101" providerId="ADAL" clId="{6AF58198-B4FE-4A1C-95E8-6C00F51C1E20}" dt="2023-09-11T13:02:48.748" v="601"/>
          <ac:graphicFrameMkLst>
            <pc:docMk/>
            <pc:sldMk cId="3623768495" sldId="257"/>
            <ac:graphicFrameMk id="43" creationId="{87CAF892-7E49-31BA-9B5C-D27A14DB8178}"/>
          </ac:graphicFrameMkLst>
        </pc:graphicFrameChg>
      </pc:sldChg>
      <pc:sldChg chg="new add del">
        <pc:chgData name="Ishii, Yuka" userId="3ba63dc6-6e55-475b-be6b-cac8d79da101" providerId="ADAL" clId="{6AF58198-B4FE-4A1C-95E8-6C00F51C1E20}" dt="2023-09-11T12:43:06.510" v="9" actId="47"/>
        <pc:sldMkLst>
          <pc:docMk/>
          <pc:sldMk cId="2322213491" sldId="258"/>
        </pc:sldMkLst>
      </pc:sldChg>
      <pc:sldMasterChg chg="addSldLayout delSldLayout">
        <pc:chgData name="Ishii, Yuka" userId="3ba63dc6-6e55-475b-be6b-cac8d79da101" providerId="ADAL" clId="{6AF58198-B4FE-4A1C-95E8-6C00F51C1E20}" dt="2023-09-11T12:42:47.917" v="5" actId="47"/>
        <pc:sldMasterMkLst>
          <pc:docMk/>
          <pc:sldMasterMk cId="2615484843" sldId="2147483648"/>
        </pc:sldMasterMkLst>
        <pc:sldLayoutChg chg="add del">
          <pc:chgData name="Ishii, Yuka" userId="3ba63dc6-6e55-475b-be6b-cac8d79da101" providerId="ADAL" clId="{6AF58198-B4FE-4A1C-95E8-6C00F51C1E20}" dt="2023-09-11T12:42:47.917" v="5" actId="47"/>
          <pc:sldLayoutMkLst>
            <pc:docMk/>
            <pc:sldMasterMk cId="2615484843" sldId="2147483648"/>
            <pc:sldLayoutMk cId="1589954239" sldId="2147483660"/>
          </pc:sldLayoutMkLst>
        </pc:sldLayoutChg>
      </pc:sldMasterChg>
    </pc:docChg>
  </pc:docChgLst>
  <pc:docChgLst>
    <pc:chgData name="Ishii, Yuka" userId="S::yuka.ishii@tohmatsu.co.jp::3ba63dc6-6e55-475b-be6b-cac8d79da101" providerId="AD" clId="Web-{76187624-B170-55A3-1200-BC8B5D63D106}"/>
    <pc:docChg chg="modSld">
      <pc:chgData name="Ishii, Yuka" userId="S::yuka.ishii@tohmatsu.co.jp::3ba63dc6-6e55-475b-be6b-cac8d79da101" providerId="AD" clId="Web-{76187624-B170-55A3-1200-BC8B5D63D106}" dt="2023-10-10T08:47:15.613" v="2" actId="20577"/>
      <pc:docMkLst>
        <pc:docMk/>
      </pc:docMkLst>
      <pc:sldChg chg="modSp">
        <pc:chgData name="Ishii, Yuka" userId="S::yuka.ishii@tohmatsu.co.jp::3ba63dc6-6e55-475b-be6b-cac8d79da101" providerId="AD" clId="Web-{76187624-B170-55A3-1200-BC8B5D63D106}" dt="2023-10-10T08:47:15.613" v="2" actId="20577"/>
        <pc:sldMkLst>
          <pc:docMk/>
          <pc:sldMk cId="2776085579" sldId="258"/>
        </pc:sldMkLst>
        <pc:spChg chg="mod">
          <ac:chgData name="Ishii, Yuka" userId="S::yuka.ishii@tohmatsu.co.jp::3ba63dc6-6e55-475b-be6b-cac8d79da101" providerId="AD" clId="Web-{76187624-B170-55A3-1200-BC8B5D63D106}" dt="2023-10-10T08:47:15.613" v="2" actId="20577"/>
          <ac:spMkLst>
            <pc:docMk/>
            <pc:sldMk cId="2776085579" sldId="258"/>
            <ac:spMk id="14" creationId="{D2E33561-BA03-3CAF-3E96-8800B79E695B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6589F4-4EC9-4181-AB9F-8A38B2D78B3C}" type="datetimeFigureOut">
              <a:rPr kumimoji="1" lang="ja-JP" altLang="en-US" smtClean="0"/>
              <a:t>2023/10/11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607886-7DFD-4E2D-8BA6-D10CC9F16E4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684421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200150" y="1143000"/>
            <a:ext cx="44577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07886-7DFD-4E2D-8BA6-D10CC9F16E46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244612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200150" y="1143000"/>
            <a:ext cx="44577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07886-7DFD-4E2D-8BA6-D10CC9F16E46}" type="slidenum">
              <a:rPr kumimoji="1" lang="ja-JP" altLang="en-US" smtClean="0"/>
              <a:t>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676296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190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>
          <a:xfrm>
            <a:off x="-5814" y="0"/>
            <a:ext cx="36972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7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37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973895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kumimoji="1" lang="en-US" altLang="ja-JP"/>
              <a:t>DT Template A4</a:t>
            </a:r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2"/>
            <a:ext cx="4098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C1B844-D6F5-480C-BEB0-0E7DC0AD00E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09573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グループ化 18">
            <a:extLst>
              <a:ext uri="{FF2B5EF4-FFF2-40B4-BE49-F238E27FC236}">
                <a16:creationId xmlns:a16="http://schemas.microsoft.com/office/drawing/2014/main" id="{D6B8F486-0EE2-C35D-8BC3-A9E2D0B74C53}"/>
              </a:ext>
            </a:extLst>
          </p:cNvPr>
          <p:cNvGrpSpPr/>
          <p:nvPr/>
        </p:nvGrpSpPr>
        <p:grpSpPr>
          <a:xfrm>
            <a:off x="259531" y="1207886"/>
            <a:ext cx="4154813" cy="1859129"/>
            <a:chOff x="319422" y="1069740"/>
            <a:chExt cx="3609975" cy="2060425"/>
          </a:xfrm>
        </p:grpSpPr>
        <p:sp>
          <p:nvSpPr>
            <p:cNvPr id="9" name="正方形/長方形 1210">
              <a:extLst>
                <a:ext uri="{FF2B5EF4-FFF2-40B4-BE49-F238E27FC236}">
                  <a16:creationId xmlns:a16="http://schemas.microsoft.com/office/drawing/2014/main" id="{706E7B8F-E9EC-3C64-B5A7-0FF425D9437A}"/>
                </a:ext>
              </a:extLst>
            </p:cNvPr>
            <p:cNvSpPr/>
            <p:nvPr/>
          </p:nvSpPr>
          <p:spPr>
            <a:xfrm>
              <a:off x="319422" y="1069740"/>
              <a:ext cx="3609975" cy="206042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marL="171450" indent="-171450">
                <a:buFont typeface="Wingdings" panose="05000000000000000000" pitchFamily="2" charset="2"/>
                <a:buChar char="Ø"/>
                <a:defRPr/>
              </a:pPr>
              <a:r>
                <a:rPr lang="ja-JP" altLang="en-US" sz="120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地域の現状、ありたい姿、そのために自地域が対応すべき課題を記載してください。</a:t>
              </a:r>
              <a:br>
                <a:rPr lang="en-US" altLang="ja-JP" sz="120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</a:br>
              <a:r>
                <a:rPr lang="en-US" altLang="ja-JP" sz="120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XXXXXXXXX</a:t>
              </a:r>
              <a:endParaRPr lang="ja-JP" altLang="en-US" sz="120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</p:txBody>
        </p:sp>
        <p:sp>
          <p:nvSpPr>
            <p:cNvPr id="10" name="正方形/長方形 1212">
              <a:extLst>
                <a:ext uri="{FF2B5EF4-FFF2-40B4-BE49-F238E27FC236}">
                  <a16:creationId xmlns:a16="http://schemas.microsoft.com/office/drawing/2014/main" id="{333BAE42-4813-B951-CBB5-EF8762343314}"/>
                </a:ext>
              </a:extLst>
            </p:cNvPr>
            <p:cNvSpPr/>
            <p:nvPr/>
          </p:nvSpPr>
          <p:spPr>
            <a:xfrm>
              <a:off x="326660" y="1080733"/>
              <a:ext cx="896152" cy="234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rIns="27000" rtlCol="0" anchor="ctr"/>
            <a:lstStyle/>
            <a:p>
              <a:pPr algn="ctr">
                <a:defRPr/>
              </a:pPr>
              <a:r>
                <a:rPr lang="ja-JP" altLang="en-US" sz="1200" b="1">
                  <a:solidFill>
                    <a:schemeClr val="bg1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地域課題</a:t>
              </a:r>
            </a:p>
          </p:txBody>
        </p:sp>
      </p:grpSp>
      <p:grpSp>
        <p:nvGrpSpPr>
          <p:cNvPr id="14" name="グループ化 13">
            <a:extLst>
              <a:ext uri="{FF2B5EF4-FFF2-40B4-BE49-F238E27FC236}">
                <a16:creationId xmlns:a16="http://schemas.microsoft.com/office/drawing/2014/main" id="{80482075-F8A4-E69D-3FCB-2043C6C12E46}"/>
              </a:ext>
            </a:extLst>
          </p:cNvPr>
          <p:cNvGrpSpPr/>
          <p:nvPr/>
        </p:nvGrpSpPr>
        <p:grpSpPr>
          <a:xfrm>
            <a:off x="4541513" y="3190875"/>
            <a:ext cx="5091772" cy="3512361"/>
            <a:chOff x="4538203" y="5479245"/>
            <a:chExt cx="5091772" cy="3512361"/>
          </a:xfrm>
        </p:grpSpPr>
        <p:sp>
          <p:nvSpPr>
            <p:cNvPr id="6" name="正方形/長方形 1210">
              <a:extLst>
                <a:ext uri="{FF2B5EF4-FFF2-40B4-BE49-F238E27FC236}">
                  <a16:creationId xmlns:a16="http://schemas.microsoft.com/office/drawing/2014/main" id="{C6F136DC-8F39-132D-9660-931867FC9D5E}"/>
                </a:ext>
              </a:extLst>
            </p:cNvPr>
            <p:cNvSpPr/>
            <p:nvPr/>
          </p:nvSpPr>
          <p:spPr>
            <a:xfrm>
              <a:off x="4538203" y="5479245"/>
              <a:ext cx="5091772" cy="351236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marL="171450" indent="-171450">
                <a:buFont typeface="Wingdings" panose="05000000000000000000" pitchFamily="2" charset="2"/>
                <a:buChar char="Ø"/>
                <a:defRPr/>
              </a:pPr>
              <a:r>
                <a:rPr lang="ja-JP" altLang="en-US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本実証事業の概要を文章・ポンチ絵にてわかりよく記載してください。</a:t>
              </a:r>
              <a:br>
                <a:rPr lang="en-US" altLang="ja-JP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</a:br>
              <a:r>
                <a:rPr lang="en-US" altLang="ja-JP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XXXXXXXXXXXXXX</a:t>
              </a:r>
            </a:p>
          </p:txBody>
        </p:sp>
        <p:sp>
          <p:nvSpPr>
            <p:cNvPr id="13" name="正方形/長方形 1212">
              <a:extLst>
                <a:ext uri="{FF2B5EF4-FFF2-40B4-BE49-F238E27FC236}">
                  <a16:creationId xmlns:a16="http://schemas.microsoft.com/office/drawing/2014/main" id="{F1EC8D81-9769-214E-4F12-B700FE62FDA6}"/>
                </a:ext>
              </a:extLst>
            </p:cNvPr>
            <p:cNvSpPr/>
            <p:nvPr/>
          </p:nvSpPr>
          <p:spPr>
            <a:xfrm>
              <a:off x="4542899" y="5485199"/>
              <a:ext cx="2295185" cy="19619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rIns="27000" rtlCol="0" anchor="ctr"/>
            <a:lstStyle/>
            <a:p>
              <a:pPr algn="ctr">
                <a:defRPr/>
              </a:pPr>
              <a:r>
                <a:rPr lang="ja-JP" altLang="en-US" sz="1200" b="1">
                  <a:solidFill>
                    <a:schemeClr val="bg1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実証事業概要</a:t>
              </a:r>
            </a:p>
          </p:txBody>
        </p:sp>
      </p:grpSp>
      <p:grpSp>
        <p:nvGrpSpPr>
          <p:cNvPr id="18" name="グループ化 17">
            <a:extLst>
              <a:ext uri="{FF2B5EF4-FFF2-40B4-BE49-F238E27FC236}">
                <a16:creationId xmlns:a16="http://schemas.microsoft.com/office/drawing/2014/main" id="{8D6EA6B2-94E0-64A2-104E-18A81CA5B547}"/>
              </a:ext>
            </a:extLst>
          </p:cNvPr>
          <p:cNvGrpSpPr/>
          <p:nvPr/>
        </p:nvGrpSpPr>
        <p:grpSpPr>
          <a:xfrm>
            <a:off x="263129" y="3182716"/>
            <a:ext cx="4151215" cy="1114797"/>
            <a:chOff x="323851" y="3204441"/>
            <a:chExt cx="5109186" cy="748637"/>
          </a:xfrm>
        </p:grpSpPr>
        <p:sp>
          <p:nvSpPr>
            <p:cNvPr id="22" name="正方形/長方形 1210">
              <a:extLst>
                <a:ext uri="{FF2B5EF4-FFF2-40B4-BE49-F238E27FC236}">
                  <a16:creationId xmlns:a16="http://schemas.microsoft.com/office/drawing/2014/main" id="{F579E50D-4425-B556-3FE3-CA99EDF54B85}"/>
                </a:ext>
              </a:extLst>
            </p:cNvPr>
            <p:cNvSpPr/>
            <p:nvPr/>
          </p:nvSpPr>
          <p:spPr>
            <a:xfrm>
              <a:off x="1215614" y="3204443"/>
              <a:ext cx="4217423" cy="74863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marL="171450" indent="-171450">
                <a:buFont typeface="Wingdings" panose="05000000000000000000" pitchFamily="2" charset="2"/>
                <a:buChar char="Ø"/>
                <a:defRPr/>
              </a:pPr>
              <a:r>
                <a:rPr lang="ja-JP" altLang="en-US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実証目的を記載してください。</a:t>
              </a:r>
              <a:br>
                <a:rPr lang="en-US" altLang="ja-JP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</a:br>
              <a:r>
                <a:rPr lang="en-US" altLang="ja-JP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XXXXXXX</a:t>
              </a:r>
            </a:p>
          </p:txBody>
        </p:sp>
        <p:sp>
          <p:nvSpPr>
            <p:cNvPr id="23" name="正方形/長方形 1212">
              <a:extLst>
                <a:ext uri="{FF2B5EF4-FFF2-40B4-BE49-F238E27FC236}">
                  <a16:creationId xmlns:a16="http://schemas.microsoft.com/office/drawing/2014/main" id="{3C59940E-9A73-BF3C-EAAB-5D2B2DB51B52}"/>
                </a:ext>
              </a:extLst>
            </p:cNvPr>
            <p:cNvSpPr/>
            <p:nvPr/>
          </p:nvSpPr>
          <p:spPr>
            <a:xfrm>
              <a:off x="323851" y="3204441"/>
              <a:ext cx="887294" cy="74863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rIns="27000" rtlCol="0" anchor="ctr"/>
            <a:lstStyle/>
            <a:p>
              <a:pPr algn="ctr">
                <a:defRPr/>
              </a:pPr>
              <a:r>
                <a:rPr lang="ja-JP" altLang="en-US" sz="1200" b="1">
                  <a:solidFill>
                    <a:schemeClr val="bg1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実証目的</a:t>
              </a:r>
            </a:p>
          </p:txBody>
        </p:sp>
      </p:grpSp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38CD38FD-A48C-4FBB-C2D2-0446D490C640}"/>
              </a:ext>
            </a:extLst>
          </p:cNvPr>
          <p:cNvGrpSpPr/>
          <p:nvPr/>
        </p:nvGrpSpPr>
        <p:grpSpPr>
          <a:xfrm>
            <a:off x="263129" y="4384381"/>
            <a:ext cx="4151215" cy="1114797"/>
            <a:chOff x="323851" y="3613936"/>
            <a:chExt cx="5109186" cy="748635"/>
          </a:xfrm>
        </p:grpSpPr>
        <p:sp>
          <p:nvSpPr>
            <p:cNvPr id="31" name="正方形/長方形 1210">
              <a:extLst>
                <a:ext uri="{FF2B5EF4-FFF2-40B4-BE49-F238E27FC236}">
                  <a16:creationId xmlns:a16="http://schemas.microsoft.com/office/drawing/2014/main" id="{8441653C-2B4D-018F-888F-D8C9444D4862}"/>
                </a:ext>
              </a:extLst>
            </p:cNvPr>
            <p:cNvSpPr/>
            <p:nvPr/>
          </p:nvSpPr>
          <p:spPr>
            <a:xfrm>
              <a:off x="1215614" y="3613936"/>
              <a:ext cx="4217423" cy="74863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marL="171450" indent="-171450">
                <a:buFont typeface="Wingdings" panose="05000000000000000000" pitchFamily="2" charset="2"/>
                <a:buChar char="Ø"/>
                <a:defRPr/>
              </a:pPr>
              <a:r>
                <a:rPr lang="en-US" altLang="ja-JP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KPI</a:t>
              </a:r>
              <a:r>
                <a:rPr lang="ja-JP" altLang="en-US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を記載してください。</a:t>
              </a:r>
              <a:br>
                <a:rPr lang="en-US" altLang="ja-JP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</a:br>
              <a:r>
                <a:rPr lang="ja-JP" altLang="en-US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複数ある場合には通し番号等を適宜振ってください。</a:t>
              </a:r>
              <a:endParaRPr lang="en-US" altLang="ja-JP" sz="1200" spc="-15">
                <a:solidFill>
                  <a:srgbClr val="00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</p:txBody>
        </p:sp>
        <p:sp>
          <p:nvSpPr>
            <p:cNvPr id="32" name="正方形/長方形 1212">
              <a:extLst>
                <a:ext uri="{FF2B5EF4-FFF2-40B4-BE49-F238E27FC236}">
                  <a16:creationId xmlns:a16="http://schemas.microsoft.com/office/drawing/2014/main" id="{DFDC7D29-7FCF-BA9A-347F-C28E3EB0762B}"/>
                </a:ext>
              </a:extLst>
            </p:cNvPr>
            <p:cNvSpPr/>
            <p:nvPr/>
          </p:nvSpPr>
          <p:spPr>
            <a:xfrm>
              <a:off x="323851" y="3613936"/>
              <a:ext cx="887294" cy="74863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rIns="27000" rtlCol="0" anchor="ctr"/>
            <a:lstStyle/>
            <a:p>
              <a:pPr algn="ctr">
                <a:defRPr/>
              </a:pPr>
              <a:r>
                <a:rPr lang="en-US" altLang="ja-JP" sz="1200" b="1">
                  <a:solidFill>
                    <a:schemeClr val="bg1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KPI</a:t>
              </a:r>
              <a:endParaRPr lang="ja-JP" altLang="en-US" sz="1200" b="1">
                <a:solidFill>
                  <a:schemeClr val="bg1"/>
                </a:solidFill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</p:txBody>
        </p:sp>
      </p:grp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9EBDF3EA-82D3-8FC7-0ABB-C5E76C178DBE}"/>
              </a:ext>
            </a:extLst>
          </p:cNvPr>
          <p:cNvGrpSpPr/>
          <p:nvPr/>
        </p:nvGrpSpPr>
        <p:grpSpPr>
          <a:xfrm>
            <a:off x="259498" y="5586045"/>
            <a:ext cx="4151215" cy="1114821"/>
            <a:chOff x="319383" y="3987046"/>
            <a:chExt cx="5109186" cy="1372083"/>
          </a:xfrm>
        </p:grpSpPr>
        <p:sp>
          <p:nvSpPr>
            <p:cNvPr id="33" name="正方形/長方形 1210">
              <a:extLst>
                <a:ext uri="{FF2B5EF4-FFF2-40B4-BE49-F238E27FC236}">
                  <a16:creationId xmlns:a16="http://schemas.microsoft.com/office/drawing/2014/main" id="{4E9BE460-17B4-9ADA-7366-AC97AE409470}"/>
                </a:ext>
              </a:extLst>
            </p:cNvPr>
            <p:cNvSpPr/>
            <p:nvPr/>
          </p:nvSpPr>
          <p:spPr>
            <a:xfrm>
              <a:off x="1211146" y="3987074"/>
              <a:ext cx="4217423" cy="137205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marL="171450" indent="-171450">
                <a:buFont typeface="Wingdings" panose="05000000000000000000" pitchFamily="2" charset="2"/>
                <a:buChar char="Ø"/>
                <a:defRPr/>
              </a:pPr>
              <a:r>
                <a:rPr lang="en-US" altLang="ja-JP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KPI</a:t>
              </a:r>
              <a:r>
                <a:rPr lang="ja-JP" altLang="en-US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ごとの測定方法を記載してください。</a:t>
              </a:r>
              <a:endParaRPr lang="en-US" altLang="ja-JP" sz="1200" spc="-15">
                <a:solidFill>
                  <a:srgbClr val="00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</p:txBody>
        </p:sp>
        <p:sp>
          <p:nvSpPr>
            <p:cNvPr id="34" name="正方形/長方形 1212">
              <a:extLst>
                <a:ext uri="{FF2B5EF4-FFF2-40B4-BE49-F238E27FC236}">
                  <a16:creationId xmlns:a16="http://schemas.microsoft.com/office/drawing/2014/main" id="{DCFFE26D-8815-6B61-D77D-C88D21D4CC26}"/>
                </a:ext>
              </a:extLst>
            </p:cNvPr>
            <p:cNvSpPr/>
            <p:nvPr/>
          </p:nvSpPr>
          <p:spPr>
            <a:xfrm>
              <a:off x="319383" y="3987046"/>
              <a:ext cx="887294" cy="1372054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rIns="27000" rtlCol="0" anchor="ctr"/>
            <a:lstStyle/>
            <a:p>
              <a:pPr algn="ctr">
                <a:defRPr/>
              </a:pPr>
              <a:r>
                <a:rPr lang="en-US" altLang="ja-JP" sz="1200" b="1">
                  <a:solidFill>
                    <a:schemeClr val="bg1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KPI</a:t>
              </a:r>
              <a:r>
                <a:rPr lang="ja-JP" altLang="en-US" sz="1200" b="1">
                  <a:solidFill>
                    <a:schemeClr val="bg1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の</a:t>
              </a:r>
              <a:br>
                <a:rPr lang="en-US" altLang="ja-JP" sz="1200" b="1">
                  <a:solidFill>
                    <a:schemeClr val="bg1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</a:br>
              <a:r>
                <a:rPr lang="ja-JP" altLang="en-US" sz="1200" b="1">
                  <a:solidFill>
                    <a:schemeClr val="bg1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測定方法</a:t>
              </a:r>
            </a:p>
          </p:txBody>
        </p:sp>
      </p:grpSp>
      <p:grpSp>
        <p:nvGrpSpPr>
          <p:cNvPr id="28" name="グループ化 27">
            <a:extLst>
              <a:ext uri="{FF2B5EF4-FFF2-40B4-BE49-F238E27FC236}">
                <a16:creationId xmlns:a16="http://schemas.microsoft.com/office/drawing/2014/main" id="{3000940D-DE7F-6809-3BEE-B540827F00B7}"/>
              </a:ext>
            </a:extLst>
          </p:cNvPr>
          <p:cNvGrpSpPr/>
          <p:nvPr/>
        </p:nvGrpSpPr>
        <p:grpSpPr>
          <a:xfrm>
            <a:off x="259499" y="305552"/>
            <a:ext cx="9370476" cy="468001"/>
            <a:chOff x="423695" y="149644"/>
            <a:chExt cx="9065153" cy="468001"/>
          </a:xfrm>
        </p:grpSpPr>
        <p:grpSp>
          <p:nvGrpSpPr>
            <p:cNvPr id="29" name="グループ化 28">
              <a:extLst>
                <a:ext uri="{FF2B5EF4-FFF2-40B4-BE49-F238E27FC236}">
                  <a16:creationId xmlns:a16="http://schemas.microsoft.com/office/drawing/2014/main" id="{88A7870A-A3EF-D815-91A0-6EE353211F6F}"/>
                </a:ext>
              </a:extLst>
            </p:cNvPr>
            <p:cNvGrpSpPr/>
            <p:nvPr/>
          </p:nvGrpSpPr>
          <p:grpSpPr>
            <a:xfrm>
              <a:off x="8005010" y="149644"/>
              <a:ext cx="1483838" cy="468000"/>
              <a:chOff x="7050511" y="149644"/>
              <a:chExt cx="1483838" cy="468000"/>
            </a:xfrm>
          </p:grpSpPr>
          <p:sp>
            <p:nvSpPr>
              <p:cNvPr id="48" name="正方形/長方形 47">
                <a:extLst>
                  <a:ext uri="{FF2B5EF4-FFF2-40B4-BE49-F238E27FC236}">
                    <a16:creationId xmlns:a16="http://schemas.microsoft.com/office/drawing/2014/main" id="{BD3723BE-2348-2841-9225-ADDC75D27D89}"/>
                  </a:ext>
                </a:extLst>
              </p:cNvPr>
              <p:cNvSpPr/>
              <p:nvPr/>
            </p:nvSpPr>
            <p:spPr bwMode="gray">
              <a:xfrm>
                <a:off x="7792967" y="149644"/>
                <a:ext cx="741382" cy="46800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90564">
                  <a:buSzPct val="100000"/>
                </a:pPr>
                <a:r>
                  <a:rPr lang="en-US" altLang="ja-JP" sz="1200">
                    <a:solidFill>
                      <a:schemeClr val="tx2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X</a:t>
                </a:r>
                <a:endParaRPr lang="ja-JP" altLang="en-US" sz="1200">
                  <a:solidFill>
                    <a:schemeClr val="tx2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endParaRPr>
              </a:p>
            </p:txBody>
          </p:sp>
          <p:sp>
            <p:nvSpPr>
              <p:cNvPr id="49" name="正方形/長方形 1217">
                <a:extLst>
                  <a:ext uri="{FF2B5EF4-FFF2-40B4-BE49-F238E27FC236}">
                    <a16:creationId xmlns:a16="http://schemas.microsoft.com/office/drawing/2014/main" id="{DA0375DC-2D51-30E3-D1FA-6F8E049091C5}"/>
                  </a:ext>
                </a:extLst>
              </p:cNvPr>
              <p:cNvSpPr/>
              <p:nvPr/>
            </p:nvSpPr>
            <p:spPr>
              <a:xfrm>
                <a:off x="7050511" y="149644"/>
                <a:ext cx="741383" cy="4680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defRPr/>
                </a:pPr>
                <a:r>
                  <a:rPr lang="ja-JP" altLang="en-US" sz="1200" b="1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カテゴリー</a:t>
                </a:r>
                <a:br>
                  <a:rPr lang="en-US" altLang="ja-JP" sz="1200" b="1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</a:br>
                <a:r>
                  <a:rPr lang="ja-JP" altLang="en-US" sz="1200" b="1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番号</a:t>
                </a:r>
                <a:endParaRPr lang="en-US" altLang="ja-JP" sz="1200" b="1">
                  <a:solidFill>
                    <a:schemeClr val="bg1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endParaRPr>
              </a:p>
            </p:txBody>
          </p:sp>
        </p:grpSp>
        <p:grpSp>
          <p:nvGrpSpPr>
            <p:cNvPr id="30" name="グループ化 29">
              <a:extLst>
                <a:ext uri="{FF2B5EF4-FFF2-40B4-BE49-F238E27FC236}">
                  <a16:creationId xmlns:a16="http://schemas.microsoft.com/office/drawing/2014/main" id="{5386C17D-209D-848E-05A1-A35B8CB26F7C}"/>
                </a:ext>
              </a:extLst>
            </p:cNvPr>
            <p:cNvGrpSpPr/>
            <p:nvPr/>
          </p:nvGrpSpPr>
          <p:grpSpPr>
            <a:xfrm>
              <a:off x="423695" y="149645"/>
              <a:ext cx="3386305" cy="468000"/>
              <a:chOff x="319422" y="390275"/>
              <a:chExt cx="3386305" cy="468000"/>
            </a:xfrm>
          </p:grpSpPr>
          <p:grpSp>
            <p:nvGrpSpPr>
              <p:cNvPr id="40" name="グループ化 39">
                <a:extLst>
                  <a:ext uri="{FF2B5EF4-FFF2-40B4-BE49-F238E27FC236}">
                    <a16:creationId xmlns:a16="http://schemas.microsoft.com/office/drawing/2014/main" id="{4D8EAB21-8264-EC75-78AF-F7BC4ED10E47}"/>
                  </a:ext>
                </a:extLst>
              </p:cNvPr>
              <p:cNvGrpSpPr/>
              <p:nvPr/>
            </p:nvGrpSpPr>
            <p:grpSpPr>
              <a:xfrm>
                <a:off x="319422" y="390275"/>
                <a:ext cx="3386305" cy="234000"/>
                <a:chOff x="319422" y="390275"/>
                <a:chExt cx="3386305" cy="234000"/>
              </a:xfrm>
            </p:grpSpPr>
            <p:sp>
              <p:nvSpPr>
                <p:cNvPr id="46" name="正方形/長方形 45">
                  <a:extLst>
                    <a:ext uri="{FF2B5EF4-FFF2-40B4-BE49-F238E27FC236}">
                      <a16:creationId xmlns:a16="http://schemas.microsoft.com/office/drawing/2014/main" id="{93ECBE5C-808F-1F14-8FDA-4E454C40B7F5}"/>
                    </a:ext>
                  </a:extLst>
                </p:cNvPr>
                <p:cNvSpPr/>
                <p:nvPr/>
              </p:nvSpPr>
              <p:spPr bwMode="gray">
                <a:xfrm>
                  <a:off x="1322181" y="390275"/>
                  <a:ext cx="2383546" cy="234000"/>
                </a:xfrm>
                <a:prstGeom prst="rect">
                  <a:avLst/>
                </a:prstGeom>
                <a:solidFill>
                  <a:schemeClr val="bg1"/>
                </a:solidFill>
                <a:ln w="9525" algn="ctr">
                  <a:solidFill>
                    <a:schemeClr val="tx1">
                      <a:lumMod val="50000"/>
                      <a:lumOff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90564">
                    <a:buSzPct val="100000"/>
                  </a:pPr>
                  <a:r>
                    <a:rPr lang="en-US" altLang="ja-JP" sz="1200">
                      <a:solidFill>
                        <a:schemeClr val="tx2"/>
                      </a:solidFill>
                      <a:latin typeface="Yu Gothic UI" panose="020B0500000000000000" pitchFamily="50" charset="-128"/>
                      <a:ea typeface="Yu Gothic UI" panose="020B0500000000000000" pitchFamily="50" charset="-128"/>
                    </a:rPr>
                    <a:t>XXX</a:t>
                  </a:r>
                  <a:endParaRPr lang="ja-JP" altLang="en-US" sz="1200">
                    <a:solidFill>
                      <a:schemeClr val="tx2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endParaRPr>
                </a:p>
              </p:txBody>
            </p:sp>
            <p:sp>
              <p:nvSpPr>
                <p:cNvPr id="47" name="正方形/長方形 1217">
                  <a:extLst>
                    <a:ext uri="{FF2B5EF4-FFF2-40B4-BE49-F238E27FC236}">
                      <a16:creationId xmlns:a16="http://schemas.microsoft.com/office/drawing/2014/main" id="{A8D928E9-D78A-54F4-4861-6E52A02B4B98}"/>
                    </a:ext>
                  </a:extLst>
                </p:cNvPr>
                <p:cNvSpPr/>
                <p:nvPr/>
              </p:nvSpPr>
              <p:spPr>
                <a:xfrm>
                  <a:off x="319422" y="390275"/>
                  <a:ext cx="996031" cy="23400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 w="952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defRPr/>
                  </a:pPr>
                  <a:r>
                    <a:rPr lang="ja-JP" altLang="en-US" sz="1200" b="1">
                      <a:solidFill>
                        <a:schemeClr val="bg1"/>
                      </a:solidFill>
                      <a:latin typeface="Yu Gothic UI" panose="020B0500000000000000" pitchFamily="50" charset="-128"/>
                      <a:ea typeface="Yu Gothic UI" panose="020B0500000000000000" pitchFamily="50" charset="-128"/>
                    </a:rPr>
                    <a:t>申請団体名</a:t>
                  </a:r>
                  <a:endParaRPr lang="en-US" altLang="ja-JP" sz="1200" b="1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endParaRPr>
                </a:p>
              </p:txBody>
            </p:sp>
          </p:grpSp>
          <p:grpSp>
            <p:nvGrpSpPr>
              <p:cNvPr id="41" name="グループ化 40">
                <a:extLst>
                  <a:ext uri="{FF2B5EF4-FFF2-40B4-BE49-F238E27FC236}">
                    <a16:creationId xmlns:a16="http://schemas.microsoft.com/office/drawing/2014/main" id="{455ED7F2-DDE7-B3B1-2600-C661A97869ED}"/>
                  </a:ext>
                </a:extLst>
              </p:cNvPr>
              <p:cNvGrpSpPr/>
              <p:nvPr/>
            </p:nvGrpSpPr>
            <p:grpSpPr>
              <a:xfrm>
                <a:off x="319422" y="624275"/>
                <a:ext cx="3386305" cy="234000"/>
                <a:chOff x="319422" y="624275"/>
                <a:chExt cx="3386305" cy="234000"/>
              </a:xfrm>
            </p:grpSpPr>
            <p:sp>
              <p:nvSpPr>
                <p:cNvPr id="42" name="正方形/長方形 41">
                  <a:extLst>
                    <a:ext uri="{FF2B5EF4-FFF2-40B4-BE49-F238E27FC236}">
                      <a16:creationId xmlns:a16="http://schemas.microsoft.com/office/drawing/2014/main" id="{3D55598D-E333-3406-D3A8-8DB163ACA43A}"/>
                    </a:ext>
                  </a:extLst>
                </p:cNvPr>
                <p:cNvSpPr/>
                <p:nvPr/>
              </p:nvSpPr>
              <p:spPr bwMode="gray">
                <a:xfrm>
                  <a:off x="1322181" y="624275"/>
                  <a:ext cx="2383546" cy="234000"/>
                </a:xfrm>
                <a:prstGeom prst="rect">
                  <a:avLst/>
                </a:prstGeom>
                <a:solidFill>
                  <a:schemeClr val="bg1"/>
                </a:solidFill>
                <a:ln w="9525" algn="ctr">
                  <a:solidFill>
                    <a:schemeClr val="tx1">
                      <a:lumMod val="50000"/>
                      <a:lumOff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90564">
                    <a:buSzPct val="100000"/>
                  </a:pPr>
                  <a:r>
                    <a:rPr lang="en-US" altLang="ja-JP" sz="1200">
                      <a:solidFill>
                        <a:schemeClr val="tx2"/>
                      </a:solidFill>
                      <a:latin typeface="Yu Gothic UI" panose="020B0500000000000000" pitchFamily="50" charset="-128"/>
                      <a:ea typeface="Yu Gothic UI" panose="020B0500000000000000" pitchFamily="50" charset="-128"/>
                    </a:rPr>
                    <a:t>XXX</a:t>
                  </a:r>
                  <a:endParaRPr lang="ja-JP" altLang="en-US" sz="1200">
                    <a:solidFill>
                      <a:schemeClr val="tx2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endParaRPr>
                </a:p>
              </p:txBody>
            </p:sp>
            <p:sp>
              <p:nvSpPr>
                <p:cNvPr id="43" name="正方形/長方形 1217">
                  <a:extLst>
                    <a:ext uri="{FF2B5EF4-FFF2-40B4-BE49-F238E27FC236}">
                      <a16:creationId xmlns:a16="http://schemas.microsoft.com/office/drawing/2014/main" id="{410B9A7F-784F-AF2F-8AA6-0C4C8E44ECD3}"/>
                    </a:ext>
                  </a:extLst>
                </p:cNvPr>
                <p:cNvSpPr/>
                <p:nvPr/>
              </p:nvSpPr>
              <p:spPr>
                <a:xfrm>
                  <a:off x="319422" y="624275"/>
                  <a:ext cx="996031" cy="23400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 w="952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defRPr/>
                  </a:pPr>
                  <a:r>
                    <a:rPr lang="ja-JP" altLang="en-US" sz="1200" b="1">
                      <a:solidFill>
                        <a:schemeClr val="bg1"/>
                      </a:solidFill>
                      <a:latin typeface="Yu Gothic UI" panose="020B0500000000000000" pitchFamily="50" charset="-128"/>
                      <a:ea typeface="Yu Gothic UI" panose="020B0500000000000000" pitchFamily="50" charset="-128"/>
                    </a:rPr>
                    <a:t>ベンチャー社名</a:t>
                  </a:r>
                  <a:endParaRPr lang="en-US" altLang="ja-JP" sz="1200" b="1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endParaRPr>
                </a:p>
              </p:txBody>
            </p:sp>
          </p:grpSp>
        </p:grpSp>
        <p:grpSp>
          <p:nvGrpSpPr>
            <p:cNvPr id="35" name="グループ化 34">
              <a:extLst>
                <a:ext uri="{FF2B5EF4-FFF2-40B4-BE49-F238E27FC236}">
                  <a16:creationId xmlns:a16="http://schemas.microsoft.com/office/drawing/2014/main" id="{0CE88530-5F71-1991-2A90-3262B95AEFE9}"/>
                </a:ext>
              </a:extLst>
            </p:cNvPr>
            <p:cNvGrpSpPr/>
            <p:nvPr/>
          </p:nvGrpSpPr>
          <p:grpSpPr>
            <a:xfrm>
              <a:off x="3816653" y="149645"/>
              <a:ext cx="4187284" cy="468000"/>
              <a:chOff x="4618753" y="149645"/>
              <a:chExt cx="4187284" cy="468000"/>
            </a:xfrm>
          </p:grpSpPr>
          <p:sp>
            <p:nvSpPr>
              <p:cNvPr id="36" name="正方形/長方形 35">
                <a:extLst>
                  <a:ext uri="{FF2B5EF4-FFF2-40B4-BE49-F238E27FC236}">
                    <a16:creationId xmlns:a16="http://schemas.microsoft.com/office/drawing/2014/main" id="{6832629B-D73B-216E-50B7-74568BED9B2D}"/>
                  </a:ext>
                </a:extLst>
              </p:cNvPr>
              <p:cNvSpPr/>
              <p:nvPr/>
            </p:nvSpPr>
            <p:spPr bwMode="gray">
              <a:xfrm>
                <a:off x="5374179" y="149645"/>
                <a:ext cx="3431858" cy="46800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90564">
                  <a:buSzPct val="100000"/>
                </a:pPr>
                <a:r>
                  <a:rPr lang="en-US" altLang="ja-JP" sz="1200">
                    <a:solidFill>
                      <a:schemeClr val="tx2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XXX</a:t>
                </a:r>
                <a:endParaRPr lang="ja-JP" altLang="en-US" sz="1200">
                  <a:solidFill>
                    <a:schemeClr val="tx2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endParaRPr>
              </a:p>
            </p:txBody>
          </p:sp>
          <p:sp>
            <p:nvSpPr>
              <p:cNvPr id="37" name="正方形/長方形 1217">
                <a:extLst>
                  <a:ext uri="{FF2B5EF4-FFF2-40B4-BE49-F238E27FC236}">
                    <a16:creationId xmlns:a16="http://schemas.microsoft.com/office/drawing/2014/main" id="{ED421858-35F0-1443-F0FD-DE78366EF8E2}"/>
                  </a:ext>
                </a:extLst>
              </p:cNvPr>
              <p:cNvSpPr/>
              <p:nvPr/>
            </p:nvSpPr>
            <p:spPr>
              <a:xfrm>
                <a:off x="4618753" y="149645"/>
                <a:ext cx="746331" cy="4680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defRPr/>
                </a:pPr>
                <a:r>
                  <a:rPr lang="ja-JP" altLang="en-US" sz="1200" b="1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実証</a:t>
                </a:r>
                <a:endParaRPr lang="en-US" altLang="ja-JP" sz="1200" b="1">
                  <a:solidFill>
                    <a:schemeClr val="bg1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endParaRPr>
              </a:p>
              <a:p>
                <a:pPr algn="ctr">
                  <a:defRPr/>
                </a:pPr>
                <a:r>
                  <a:rPr lang="ja-JP" altLang="en-US" sz="1200" b="1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事業名</a:t>
                </a:r>
                <a:endParaRPr lang="en-US" altLang="ja-JP" sz="1200" b="1">
                  <a:solidFill>
                    <a:schemeClr val="bg1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endParaRPr>
              </a:p>
            </p:txBody>
          </p:sp>
        </p:grpSp>
      </p:grp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FDFDB67F-ADA5-82F8-C948-5DEC7F4997A1}"/>
              </a:ext>
            </a:extLst>
          </p:cNvPr>
          <p:cNvSpPr txBox="1"/>
          <p:nvPr/>
        </p:nvSpPr>
        <p:spPr>
          <a:xfrm>
            <a:off x="8886979" y="-625"/>
            <a:ext cx="74138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100">
                <a:latin typeface="Yu Gothic UI" panose="020B0500000000000000" pitchFamily="50" charset="-128"/>
                <a:ea typeface="Yu Gothic UI" panose="020B0500000000000000" pitchFamily="50" charset="-128"/>
              </a:rPr>
              <a:t>【</a:t>
            </a:r>
            <a:r>
              <a:rPr kumimoji="1" lang="ja-JP" altLang="en-US" sz="1100">
                <a:latin typeface="Yu Gothic UI" panose="020B0500000000000000" pitchFamily="50" charset="-128"/>
                <a:ea typeface="Yu Gothic UI" panose="020B0500000000000000" pitchFamily="50" charset="-128"/>
              </a:rPr>
              <a:t>様式</a:t>
            </a:r>
            <a:r>
              <a:rPr kumimoji="1" lang="en-US" altLang="ja-JP" sz="1100">
                <a:latin typeface="Yu Gothic UI" panose="020B0500000000000000" pitchFamily="50" charset="-128"/>
                <a:ea typeface="Yu Gothic UI" panose="020B0500000000000000" pitchFamily="50" charset="-128"/>
              </a:rPr>
              <a:t>1】</a:t>
            </a:r>
            <a:endParaRPr kumimoji="1" lang="ja-JP" altLang="en-US" sz="1100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45" name="吹き出し: 四角形 44">
            <a:extLst>
              <a:ext uri="{FF2B5EF4-FFF2-40B4-BE49-F238E27FC236}">
                <a16:creationId xmlns:a16="http://schemas.microsoft.com/office/drawing/2014/main" id="{70D074C3-4A3C-3B70-F723-79ABB447E15C}"/>
              </a:ext>
            </a:extLst>
          </p:cNvPr>
          <p:cNvSpPr/>
          <p:nvPr/>
        </p:nvSpPr>
        <p:spPr>
          <a:xfrm>
            <a:off x="9826264" y="0"/>
            <a:ext cx="2463826" cy="1366719"/>
          </a:xfrm>
          <a:prstGeom prst="wedgeRectCallout">
            <a:avLst>
              <a:gd name="adj1" fmla="val -69683"/>
              <a:gd name="adj2" fmla="val -22559"/>
            </a:avLst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ja-JP" sz="812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【</a:t>
            </a:r>
            <a:r>
              <a:rPr lang="ja-JP" altLang="en-US" sz="812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申請団体様</a:t>
            </a:r>
            <a:r>
              <a:rPr lang="en-US" altLang="ja-JP" sz="812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】</a:t>
            </a:r>
          </a:p>
          <a:p>
            <a:r>
              <a:rPr lang="ja-JP" altLang="en-US" sz="812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該当するカテゴリーの番号を記載ください。</a:t>
            </a:r>
            <a:endParaRPr lang="en-US" altLang="ja-JP" sz="812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812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① マナー啓発等を目的とした情報発信・多言語対応</a:t>
            </a:r>
          </a:p>
          <a:p>
            <a:r>
              <a:rPr lang="ja-JP" altLang="en-US" sz="812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② 予約・決済、通信環境の整備</a:t>
            </a:r>
          </a:p>
          <a:p>
            <a:r>
              <a:rPr lang="ja-JP" altLang="en-US" sz="812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③ 混雑対応</a:t>
            </a:r>
          </a:p>
          <a:p>
            <a:r>
              <a:rPr lang="ja-JP" altLang="en-US" sz="812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④ 二次交通の円滑な利用・周遊促進</a:t>
            </a:r>
          </a:p>
          <a:p>
            <a:r>
              <a:rPr lang="ja-JP" altLang="en-US" sz="812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⑤ 災害等非常時対策</a:t>
            </a:r>
          </a:p>
          <a:p>
            <a:r>
              <a:rPr lang="ja-JP" altLang="en-US" sz="812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⑥ 情報収集・分析、マーケティング関連</a:t>
            </a:r>
          </a:p>
          <a:p>
            <a:r>
              <a:rPr lang="ja-JP" altLang="en-US" sz="812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⑦ その他受入環境の向上を目的としたサービス導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AC8396FF-4836-00FD-31C5-650C6CE2BD45}"/>
              </a:ext>
            </a:extLst>
          </p:cNvPr>
          <p:cNvGrpSpPr/>
          <p:nvPr/>
        </p:nvGrpSpPr>
        <p:grpSpPr>
          <a:xfrm>
            <a:off x="4538203" y="898519"/>
            <a:ext cx="5091772" cy="2168491"/>
            <a:chOff x="4538203" y="898519"/>
            <a:chExt cx="5091772" cy="2168491"/>
          </a:xfrm>
        </p:grpSpPr>
        <p:sp>
          <p:nvSpPr>
            <p:cNvPr id="51" name="正方形/長方形 1210">
              <a:extLst>
                <a:ext uri="{FF2B5EF4-FFF2-40B4-BE49-F238E27FC236}">
                  <a16:creationId xmlns:a16="http://schemas.microsoft.com/office/drawing/2014/main" id="{7A5B9F25-175E-7B33-5203-D678032CFC51}"/>
                </a:ext>
              </a:extLst>
            </p:cNvPr>
            <p:cNvSpPr/>
            <p:nvPr/>
          </p:nvSpPr>
          <p:spPr>
            <a:xfrm>
              <a:off x="4538203" y="898519"/>
              <a:ext cx="5091772" cy="216849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marL="171450" indent="-171450">
                <a:buFont typeface="Wingdings" panose="05000000000000000000" pitchFamily="2" charset="2"/>
                <a:buChar char="Ø"/>
                <a:defRPr/>
              </a:pPr>
              <a:r>
                <a:rPr lang="ja-JP" altLang="en-US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本実証事業にて導入予定の技術について概要を記載してください。</a:t>
              </a:r>
              <a:br>
                <a:rPr lang="en-US" altLang="ja-JP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</a:br>
              <a:r>
                <a:rPr lang="en-US" altLang="ja-JP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XXXXXXXXXXXX</a:t>
              </a:r>
            </a:p>
          </p:txBody>
        </p:sp>
        <p:sp>
          <p:nvSpPr>
            <p:cNvPr id="58" name="正方形/長方形 1212">
              <a:extLst>
                <a:ext uri="{FF2B5EF4-FFF2-40B4-BE49-F238E27FC236}">
                  <a16:creationId xmlns:a16="http://schemas.microsoft.com/office/drawing/2014/main" id="{A8B95E82-36C7-8A4E-15F2-49E7C45F54D8}"/>
                </a:ext>
              </a:extLst>
            </p:cNvPr>
            <p:cNvSpPr/>
            <p:nvPr/>
          </p:nvSpPr>
          <p:spPr>
            <a:xfrm>
              <a:off x="4538203" y="905473"/>
              <a:ext cx="1098623" cy="19619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rIns="27000" rtlCol="0" anchor="ctr"/>
            <a:lstStyle/>
            <a:p>
              <a:pPr algn="ctr">
                <a:defRPr/>
              </a:pPr>
              <a:r>
                <a:rPr lang="ja-JP" altLang="en-US" sz="1200" b="1">
                  <a:solidFill>
                    <a:schemeClr val="bg1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導入技術</a:t>
              </a:r>
            </a:p>
          </p:txBody>
        </p:sp>
      </p:grpSp>
      <p:grpSp>
        <p:nvGrpSpPr>
          <p:cNvPr id="65" name="グループ化 64">
            <a:extLst>
              <a:ext uri="{FF2B5EF4-FFF2-40B4-BE49-F238E27FC236}">
                <a16:creationId xmlns:a16="http://schemas.microsoft.com/office/drawing/2014/main" id="{0B697A69-12FA-012C-D41A-4EFBB5A1FADA}"/>
              </a:ext>
            </a:extLst>
          </p:cNvPr>
          <p:cNvGrpSpPr/>
          <p:nvPr/>
        </p:nvGrpSpPr>
        <p:grpSpPr>
          <a:xfrm>
            <a:off x="263129" y="905473"/>
            <a:ext cx="4151215" cy="228434"/>
            <a:chOff x="323851" y="3204442"/>
            <a:chExt cx="5109186" cy="281149"/>
          </a:xfrm>
        </p:grpSpPr>
        <p:sp>
          <p:nvSpPr>
            <p:cNvPr id="66" name="正方形/長方形 1210">
              <a:extLst>
                <a:ext uri="{FF2B5EF4-FFF2-40B4-BE49-F238E27FC236}">
                  <a16:creationId xmlns:a16="http://schemas.microsoft.com/office/drawing/2014/main" id="{BB70FF6D-A7DD-1D23-DEB0-A7DFEED79783}"/>
                </a:ext>
              </a:extLst>
            </p:cNvPr>
            <p:cNvSpPr/>
            <p:nvPr/>
          </p:nvSpPr>
          <p:spPr>
            <a:xfrm>
              <a:off x="1586556" y="3204444"/>
              <a:ext cx="3846481" cy="2811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>
                <a:defRPr/>
              </a:pPr>
              <a:r>
                <a:rPr lang="ja-JP" altLang="en-US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記載例：</a:t>
              </a:r>
              <a:r>
                <a:rPr lang="en-US" altLang="ja-JP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XX</a:t>
              </a:r>
              <a:r>
                <a:rPr lang="ja-JP" altLang="en-US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市、</a:t>
              </a:r>
              <a:r>
                <a:rPr lang="en-US" altLang="ja-JP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XX</a:t>
              </a:r>
              <a:r>
                <a:rPr lang="ja-JP" altLang="en-US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市内〇〇公園エリア　等</a:t>
              </a:r>
              <a:endParaRPr lang="en-US" altLang="ja-JP" sz="1200" spc="-15">
                <a:solidFill>
                  <a:srgbClr val="00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</p:txBody>
        </p:sp>
        <p:sp>
          <p:nvSpPr>
            <p:cNvPr id="67" name="正方形/長方形 1212">
              <a:extLst>
                <a:ext uri="{FF2B5EF4-FFF2-40B4-BE49-F238E27FC236}">
                  <a16:creationId xmlns:a16="http://schemas.microsoft.com/office/drawing/2014/main" id="{8141FF00-8FAE-89CC-F263-1FB6572B34E0}"/>
                </a:ext>
              </a:extLst>
            </p:cNvPr>
            <p:cNvSpPr/>
            <p:nvPr/>
          </p:nvSpPr>
          <p:spPr>
            <a:xfrm>
              <a:off x="323851" y="3204442"/>
              <a:ext cx="1262705" cy="28114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rIns="27000" rtlCol="0" anchor="ctr"/>
            <a:lstStyle/>
            <a:p>
              <a:pPr algn="ctr">
                <a:defRPr/>
              </a:pPr>
              <a:r>
                <a:rPr lang="ja-JP" altLang="en-US" sz="1200" b="1">
                  <a:solidFill>
                    <a:schemeClr val="bg1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実証地域</a:t>
              </a:r>
            </a:p>
          </p:txBody>
        </p:sp>
      </p:grpSp>
      <p:sp>
        <p:nvSpPr>
          <p:cNvPr id="68" name="スライド番号プレースホルダー 67">
            <a:extLst>
              <a:ext uri="{FF2B5EF4-FFF2-40B4-BE49-F238E27FC236}">
                <a16:creationId xmlns:a16="http://schemas.microsoft.com/office/drawing/2014/main" id="{091640CC-6832-07D2-2080-99B775C81D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-44509" y="6564551"/>
            <a:ext cx="277777" cy="274324"/>
          </a:xfrm>
        </p:spPr>
        <p:txBody>
          <a:bodyPr/>
          <a:lstStyle/>
          <a:p>
            <a:pPr algn="ctr"/>
            <a:fld id="{AA5FCFE5-FE56-4EF1-80A8-07776887C2A1}" type="slidenum">
              <a:rPr lang="ja-JP" altLang="en-US" smtClean="0"/>
              <a:pPr algn="ctr"/>
              <a:t>1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6237684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513530DE-CAC1-DB17-6E92-C9EF841B09F8}"/>
              </a:ext>
            </a:extLst>
          </p:cNvPr>
          <p:cNvGrpSpPr/>
          <p:nvPr/>
        </p:nvGrpSpPr>
        <p:grpSpPr>
          <a:xfrm>
            <a:off x="4669972" y="898520"/>
            <a:ext cx="4958390" cy="5796193"/>
            <a:chOff x="4669972" y="898520"/>
            <a:chExt cx="4958390" cy="5796193"/>
          </a:xfrm>
        </p:grpSpPr>
        <p:sp>
          <p:nvSpPr>
            <p:cNvPr id="8" name="正方形/長方形 1208">
              <a:extLst>
                <a:ext uri="{FF2B5EF4-FFF2-40B4-BE49-F238E27FC236}">
                  <a16:creationId xmlns:a16="http://schemas.microsoft.com/office/drawing/2014/main" id="{E59311C3-B272-E00A-06B3-BB9BF283EBE0}"/>
                </a:ext>
              </a:extLst>
            </p:cNvPr>
            <p:cNvSpPr/>
            <p:nvPr/>
          </p:nvSpPr>
          <p:spPr>
            <a:xfrm>
              <a:off x="4669972" y="898520"/>
              <a:ext cx="4958390" cy="579619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marL="171450" indent="-171450">
                <a:buFont typeface="Wingdings" panose="05000000000000000000" pitchFamily="2" charset="2"/>
                <a:buChar char="Ø"/>
                <a:defRPr/>
              </a:pPr>
              <a:r>
                <a:rPr lang="ja-JP" altLang="en-US" sz="1200" spc="-15" dirty="0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本実証事業の実施体制や申請団体との役割分担を文章・図にてわかりよく記載してください。</a:t>
              </a:r>
              <a:br>
                <a:rPr lang="en-US" altLang="ja-JP" sz="1200" spc="-15" dirty="0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</a:br>
              <a:r>
                <a:rPr lang="en-US" altLang="ja-JP" sz="1200" spc="-15" dirty="0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XXXXXXXXXXXX</a:t>
              </a:r>
            </a:p>
          </p:txBody>
        </p:sp>
        <p:sp>
          <p:nvSpPr>
            <p:cNvPr id="12" name="正方形/長方形 1217">
              <a:extLst>
                <a:ext uri="{FF2B5EF4-FFF2-40B4-BE49-F238E27FC236}">
                  <a16:creationId xmlns:a16="http://schemas.microsoft.com/office/drawing/2014/main" id="{7950EF54-BF0E-B8C3-3663-661E2231A9B9}"/>
                </a:ext>
              </a:extLst>
            </p:cNvPr>
            <p:cNvSpPr/>
            <p:nvPr/>
          </p:nvSpPr>
          <p:spPr>
            <a:xfrm>
              <a:off x="4669972" y="898520"/>
              <a:ext cx="1563773" cy="21113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rIns="27000" rtlCol="0" anchor="ctr"/>
            <a:lstStyle/>
            <a:p>
              <a:pPr algn="ctr">
                <a:defRPr/>
              </a:pPr>
              <a:r>
                <a:rPr lang="ja-JP" altLang="en-US" sz="1200" b="1">
                  <a:solidFill>
                    <a:schemeClr val="bg1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実施体制と役割分担</a:t>
              </a:r>
            </a:p>
          </p:txBody>
        </p:sp>
      </p:grpSp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169B776D-3E1F-783C-6270-2B216FE85F4F}"/>
              </a:ext>
            </a:extLst>
          </p:cNvPr>
          <p:cNvGrpSpPr/>
          <p:nvPr/>
        </p:nvGrpSpPr>
        <p:grpSpPr>
          <a:xfrm>
            <a:off x="272746" y="898519"/>
            <a:ext cx="4265457" cy="3884822"/>
            <a:chOff x="4000501" y="726878"/>
            <a:chExt cx="5249792" cy="4305452"/>
          </a:xfrm>
        </p:grpSpPr>
        <p:sp>
          <p:nvSpPr>
            <p:cNvPr id="4" name="正方形/長方形 1210">
              <a:extLst>
                <a:ext uri="{FF2B5EF4-FFF2-40B4-BE49-F238E27FC236}">
                  <a16:creationId xmlns:a16="http://schemas.microsoft.com/office/drawing/2014/main" id="{FD1DBB9A-DE18-A086-AF2C-C0E4C0FFBACC}"/>
                </a:ext>
              </a:extLst>
            </p:cNvPr>
            <p:cNvSpPr/>
            <p:nvPr/>
          </p:nvSpPr>
          <p:spPr>
            <a:xfrm>
              <a:off x="4000501" y="726878"/>
              <a:ext cx="5249792" cy="430545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>
                <a:defRPr/>
              </a:pPr>
              <a:r>
                <a:rPr lang="ja-JP" altLang="en-US" sz="1200" spc="-15" dirty="0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ベンチャー</a:t>
              </a:r>
              <a:r>
                <a:rPr lang="ja-JP" altLang="en-US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企業の目安</a:t>
              </a:r>
              <a:r>
                <a:rPr lang="ja-JP" altLang="en-US" sz="1200" spc="-15" dirty="0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は、①設立</a:t>
              </a:r>
              <a:r>
                <a:rPr lang="en-US" altLang="ja-JP" sz="1200" spc="-15" dirty="0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20</a:t>
              </a:r>
              <a:r>
                <a:rPr lang="ja-JP" altLang="en-US" sz="1200" spc="-15" dirty="0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年以内、②従業員規模</a:t>
              </a:r>
              <a:r>
                <a:rPr lang="en-US" altLang="ja-JP" sz="1200" spc="-15" dirty="0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1000</a:t>
              </a:r>
              <a:r>
                <a:rPr lang="ja-JP" altLang="en-US" sz="1200" spc="-15" dirty="0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名以下とします。</a:t>
              </a:r>
              <a:endParaRPr lang="en-US" altLang="ja-JP" sz="1200" spc="-15" dirty="0">
                <a:solidFill>
                  <a:srgbClr val="00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  <a:p>
              <a:pPr>
                <a:defRPr/>
              </a:pPr>
              <a:r>
                <a:rPr lang="en-US" altLang="ja-JP" sz="1000" spc="-15" dirty="0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※</a:t>
              </a:r>
              <a:r>
                <a:rPr lang="ja-JP" altLang="en-US" sz="1000" spc="-15" dirty="0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あくまで目安であるため、かけ離れた事業規模でない限り事業への参画を許容</a:t>
              </a:r>
              <a:endParaRPr lang="en-US" altLang="ja-JP" sz="1000" dirty="0">
                <a:solidFill>
                  <a:srgbClr val="00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  <a:p>
              <a:pPr marL="139299" indent="-139299">
                <a:buFont typeface="Wingdings" panose="05000000000000000000" pitchFamily="2" charset="2"/>
                <a:buChar char="ü"/>
                <a:defRPr/>
              </a:pPr>
              <a:r>
                <a:rPr lang="ja-JP" altLang="en-US" sz="1200" dirty="0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設立年度：</a:t>
              </a:r>
              <a:r>
                <a:rPr lang="en-US" altLang="ja-JP" sz="1200" dirty="0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XXXX</a:t>
              </a:r>
              <a:r>
                <a:rPr lang="ja-JP" altLang="en-US" sz="1200" dirty="0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年</a:t>
              </a:r>
              <a:endParaRPr lang="en-US" altLang="ja-JP" sz="1200" dirty="0">
                <a:solidFill>
                  <a:srgbClr val="00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  <a:p>
              <a:pPr marL="139299" indent="-139299">
                <a:buFont typeface="Wingdings" panose="05000000000000000000" pitchFamily="2" charset="2"/>
                <a:buChar char="ü"/>
                <a:defRPr/>
              </a:pPr>
              <a:r>
                <a:rPr lang="ja-JP" altLang="en-US" sz="1200" dirty="0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担当者：</a:t>
              </a:r>
              <a:r>
                <a:rPr lang="en-US" altLang="ja-JP" sz="1200" dirty="0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XXXX</a:t>
              </a:r>
            </a:p>
            <a:p>
              <a:pPr marL="139299" indent="-139299">
                <a:buFont typeface="Wingdings" panose="05000000000000000000" pitchFamily="2" charset="2"/>
                <a:buChar char="ü"/>
                <a:defRPr/>
              </a:pPr>
              <a:r>
                <a:rPr lang="ja-JP" altLang="en-US" sz="1200" dirty="0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連絡先：</a:t>
              </a:r>
              <a:r>
                <a:rPr lang="en-US" altLang="ja-JP" sz="1200" dirty="0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XXXX</a:t>
              </a:r>
            </a:p>
            <a:p>
              <a:pPr marL="139299" indent="-139299">
                <a:buFont typeface="Wingdings" panose="05000000000000000000" pitchFamily="2" charset="2"/>
                <a:buChar char="ü"/>
                <a:defRPr/>
              </a:pPr>
              <a:r>
                <a:rPr lang="ja-JP" altLang="en-US" sz="1200" dirty="0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事業概要：</a:t>
              </a:r>
              <a:r>
                <a:rPr lang="en-US" altLang="ja-JP" sz="1200" dirty="0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XXXX</a:t>
              </a:r>
            </a:p>
            <a:p>
              <a:pPr marL="139299" indent="-139299">
                <a:buFont typeface="Wingdings" panose="05000000000000000000" pitchFamily="2" charset="2"/>
                <a:buChar char="ü"/>
                <a:defRPr/>
              </a:pPr>
              <a:r>
                <a:rPr lang="ja-JP" altLang="en-US" sz="1200" dirty="0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主な地域への導入実績等：</a:t>
              </a:r>
              <a:r>
                <a:rPr lang="en-US" altLang="ja-JP" sz="1200" dirty="0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XXXXXX</a:t>
              </a:r>
            </a:p>
            <a:p>
              <a:pPr marL="139299" indent="-139299">
                <a:buFont typeface="Wingdings" panose="05000000000000000000" pitchFamily="2" charset="2"/>
                <a:buChar char="ü"/>
                <a:defRPr/>
              </a:pPr>
              <a:r>
                <a:rPr lang="ja-JP" altLang="en-US" sz="1200" dirty="0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本事業で活用するソリューション・サービス：</a:t>
              </a:r>
              <a:r>
                <a:rPr lang="en-US" altLang="ja-JP" sz="1200" dirty="0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XXXX</a:t>
              </a:r>
            </a:p>
          </p:txBody>
        </p:sp>
        <p:sp>
          <p:nvSpPr>
            <p:cNvPr id="5" name="正方形/長方形 1212">
              <a:extLst>
                <a:ext uri="{FF2B5EF4-FFF2-40B4-BE49-F238E27FC236}">
                  <a16:creationId xmlns:a16="http://schemas.microsoft.com/office/drawing/2014/main" id="{E5D5A7CE-FE3E-7DBC-DB72-ADB5F8CAB6C6}"/>
                </a:ext>
              </a:extLst>
            </p:cNvPr>
            <p:cNvSpPr/>
            <p:nvPr/>
          </p:nvSpPr>
          <p:spPr>
            <a:xfrm>
              <a:off x="4000501" y="726878"/>
              <a:ext cx="1259429" cy="234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rIns="27000" rtlCol="0" anchor="ctr"/>
            <a:lstStyle/>
            <a:p>
              <a:pPr algn="ctr">
                <a:defRPr/>
              </a:pPr>
              <a:r>
                <a:rPr lang="ja-JP" altLang="en-US" sz="1200" b="1">
                  <a:solidFill>
                    <a:schemeClr val="bg1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ベンチャー詳細</a:t>
              </a:r>
            </a:p>
          </p:txBody>
        </p:sp>
      </p:grpSp>
      <p:grpSp>
        <p:nvGrpSpPr>
          <p:cNvPr id="28" name="グループ化 27">
            <a:extLst>
              <a:ext uri="{FF2B5EF4-FFF2-40B4-BE49-F238E27FC236}">
                <a16:creationId xmlns:a16="http://schemas.microsoft.com/office/drawing/2014/main" id="{3000940D-DE7F-6809-3BEE-B540827F00B7}"/>
              </a:ext>
            </a:extLst>
          </p:cNvPr>
          <p:cNvGrpSpPr/>
          <p:nvPr/>
        </p:nvGrpSpPr>
        <p:grpSpPr>
          <a:xfrm>
            <a:off x="259499" y="305552"/>
            <a:ext cx="9370476" cy="468001"/>
            <a:chOff x="423695" y="149644"/>
            <a:chExt cx="9065153" cy="468001"/>
          </a:xfrm>
        </p:grpSpPr>
        <p:grpSp>
          <p:nvGrpSpPr>
            <p:cNvPr id="29" name="グループ化 28">
              <a:extLst>
                <a:ext uri="{FF2B5EF4-FFF2-40B4-BE49-F238E27FC236}">
                  <a16:creationId xmlns:a16="http://schemas.microsoft.com/office/drawing/2014/main" id="{88A7870A-A3EF-D815-91A0-6EE353211F6F}"/>
                </a:ext>
              </a:extLst>
            </p:cNvPr>
            <p:cNvGrpSpPr/>
            <p:nvPr/>
          </p:nvGrpSpPr>
          <p:grpSpPr>
            <a:xfrm>
              <a:off x="8005010" y="149644"/>
              <a:ext cx="1483838" cy="468000"/>
              <a:chOff x="7050511" y="149644"/>
              <a:chExt cx="1483838" cy="468000"/>
            </a:xfrm>
          </p:grpSpPr>
          <p:sp>
            <p:nvSpPr>
              <p:cNvPr id="48" name="正方形/長方形 47">
                <a:extLst>
                  <a:ext uri="{FF2B5EF4-FFF2-40B4-BE49-F238E27FC236}">
                    <a16:creationId xmlns:a16="http://schemas.microsoft.com/office/drawing/2014/main" id="{BD3723BE-2348-2841-9225-ADDC75D27D89}"/>
                  </a:ext>
                </a:extLst>
              </p:cNvPr>
              <p:cNvSpPr/>
              <p:nvPr/>
            </p:nvSpPr>
            <p:spPr bwMode="gray">
              <a:xfrm>
                <a:off x="7792967" y="149644"/>
                <a:ext cx="741382" cy="46800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90564">
                  <a:buSzPct val="100000"/>
                </a:pPr>
                <a:r>
                  <a:rPr lang="en-US" altLang="ja-JP" sz="1200">
                    <a:solidFill>
                      <a:schemeClr val="tx2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X</a:t>
                </a:r>
                <a:endParaRPr lang="ja-JP" altLang="en-US" sz="1200">
                  <a:solidFill>
                    <a:schemeClr val="tx2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endParaRPr>
              </a:p>
            </p:txBody>
          </p:sp>
          <p:sp>
            <p:nvSpPr>
              <p:cNvPr id="49" name="正方形/長方形 1217">
                <a:extLst>
                  <a:ext uri="{FF2B5EF4-FFF2-40B4-BE49-F238E27FC236}">
                    <a16:creationId xmlns:a16="http://schemas.microsoft.com/office/drawing/2014/main" id="{DA0375DC-2D51-30E3-D1FA-6F8E049091C5}"/>
                  </a:ext>
                </a:extLst>
              </p:cNvPr>
              <p:cNvSpPr/>
              <p:nvPr/>
            </p:nvSpPr>
            <p:spPr>
              <a:xfrm>
                <a:off x="7050511" y="149644"/>
                <a:ext cx="741383" cy="4680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defRPr/>
                </a:pPr>
                <a:r>
                  <a:rPr lang="ja-JP" altLang="en-US" sz="1200" b="1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カテゴリー</a:t>
                </a:r>
                <a:br>
                  <a:rPr lang="en-US" altLang="ja-JP" sz="1200" b="1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</a:br>
                <a:r>
                  <a:rPr lang="ja-JP" altLang="en-US" sz="1200" b="1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番号</a:t>
                </a:r>
                <a:endParaRPr lang="en-US" altLang="ja-JP" sz="1200" b="1">
                  <a:solidFill>
                    <a:schemeClr val="bg1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endParaRPr>
              </a:p>
            </p:txBody>
          </p:sp>
        </p:grpSp>
        <p:grpSp>
          <p:nvGrpSpPr>
            <p:cNvPr id="30" name="グループ化 29">
              <a:extLst>
                <a:ext uri="{FF2B5EF4-FFF2-40B4-BE49-F238E27FC236}">
                  <a16:creationId xmlns:a16="http://schemas.microsoft.com/office/drawing/2014/main" id="{5386C17D-209D-848E-05A1-A35B8CB26F7C}"/>
                </a:ext>
              </a:extLst>
            </p:cNvPr>
            <p:cNvGrpSpPr/>
            <p:nvPr/>
          </p:nvGrpSpPr>
          <p:grpSpPr>
            <a:xfrm>
              <a:off x="423695" y="149645"/>
              <a:ext cx="3386305" cy="468000"/>
              <a:chOff x="319422" y="390275"/>
              <a:chExt cx="3386305" cy="468000"/>
            </a:xfrm>
          </p:grpSpPr>
          <p:grpSp>
            <p:nvGrpSpPr>
              <p:cNvPr id="40" name="グループ化 39">
                <a:extLst>
                  <a:ext uri="{FF2B5EF4-FFF2-40B4-BE49-F238E27FC236}">
                    <a16:creationId xmlns:a16="http://schemas.microsoft.com/office/drawing/2014/main" id="{4D8EAB21-8264-EC75-78AF-F7BC4ED10E47}"/>
                  </a:ext>
                </a:extLst>
              </p:cNvPr>
              <p:cNvGrpSpPr/>
              <p:nvPr/>
            </p:nvGrpSpPr>
            <p:grpSpPr>
              <a:xfrm>
                <a:off x="319422" y="390275"/>
                <a:ext cx="3386305" cy="234000"/>
                <a:chOff x="319422" y="390275"/>
                <a:chExt cx="3386305" cy="234000"/>
              </a:xfrm>
            </p:grpSpPr>
            <p:sp>
              <p:nvSpPr>
                <p:cNvPr id="46" name="正方形/長方形 45">
                  <a:extLst>
                    <a:ext uri="{FF2B5EF4-FFF2-40B4-BE49-F238E27FC236}">
                      <a16:creationId xmlns:a16="http://schemas.microsoft.com/office/drawing/2014/main" id="{93ECBE5C-808F-1F14-8FDA-4E454C40B7F5}"/>
                    </a:ext>
                  </a:extLst>
                </p:cNvPr>
                <p:cNvSpPr/>
                <p:nvPr/>
              </p:nvSpPr>
              <p:spPr bwMode="gray">
                <a:xfrm>
                  <a:off x="1322181" y="390275"/>
                  <a:ext cx="2383546" cy="234000"/>
                </a:xfrm>
                <a:prstGeom prst="rect">
                  <a:avLst/>
                </a:prstGeom>
                <a:solidFill>
                  <a:schemeClr val="bg1"/>
                </a:solidFill>
                <a:ln w="9525" algn="ctr">
                  <a:solidFill>
                    <a:schemeClr val="tx1">
                      <a:lumMod val="50000"/>
                      <a:lumOff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90564">
                    <a:buSzPct val="100000"/>
                  </a:pPr>
                  <a:r>
                    <a:rPr lang="en-US" altLang="ja-JP" sz="1200">
                      <a:solidFill>
                        <a:schemeClr val="tx2"/>
                      </a:solidFill>
                      <a:latin typeface="Yu Gothic UI" panose="020B0500000000000000" pitchFamily="50" charset="-128"/>
                      <a:ea typeface="Yu Gothic UI" panose="020B0500000000000000" pitchFamily="50" charset="-128"/>
                    </a:rPr>
                    <a:t>XXX</a:t>
                  </a:r>
                  <a:endParaRPr lang="ja-JP" altLang="en-US" sz="1200">
                    <a:solidFill>
                      <a:schemeClr val="tx2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endParaRPr>
                </a:p>
              </p:txBody>
            </p:sp>
            <p:sp>
              <p:nvSpPr>
                <p:cNvPr id="47" name="正方形/長方形 1217">
                  <a:extLst>
                    <a:ext uri="{FF2B5EF4-FFF2-40B4-BE49-F238E27FC236}">
                      <a16:creationId xmlns:a16="http://schemas.microsoft.com/office/drawing/2014/main" id="{A8D928E9-D78A-54F4-4861-6E52A02B4B98}"/>
                    </a:ext>
                  </a:extLst>
                </p:cNvPr>
                <p:cNvSpPr/>
                <p:nvPr/>
              </p:nvSpPr>
              <p:spPr>
                <a:xfrm>
                  <a:off x="319422" y="390275"/>
                  <a:ext cx="996031" cy="23400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 w="952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defRPr/>
                  </a:pPr>
                  <a:r>
                    <a:rPr lang="ja-JP" altLang="en-US" sz="1200" b="1">
                      <a:solidFill>
                        <a:schemeClr val="bg1"/>
                      </a:solidFill>
                      <a:latin typeface="Yu Gothic UI" panose="020B0500000000000000" pitchFamily="50" charset="-128"/>
                      <a:ea typeface="Yu Gothic UI" panose="020B0500000000000000" pitchFamily="50" charset="-128"/>
                    </a:rPr>
                    <a:t>申請団体名</a:t>
                  </a:r>
                  <a:endParaRPr lang="en-US" altLang="ja-JP" sz="1200" b="1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endParaRPr>
                </a:p>
              </p:txBody>
            </p:sp>
          </p:grpSp>
          <p:grpSp>
            <p:nvGrpSpPr>
              <p:cNvPr id="41" name="グループ化 40">
                <a:extLst>
                  <a:ext uri="{FF2B5EF4-FFF2-40B4-BE49-F238E27FC236}">
                    <a16:creationId xmlns:a16="http://schemas.microsoft.com/office/drawing/2014/main" id="{455ED7F2-DDE7-B3B1-2600-C661A97869ED}"/>
                  </a:ext>
                </a:extLst>
              </p:cNvPr>
              <p:cNvGrpSpPr/>
              <p:nvPr/>
            </p:nvGrpSpPr>
            <p:grpSpPr>
              <a:xfrm>
                <a:off x="319422" y="624275"/>
                <a:ext cx="3386305" cy="234000"/>
                <a:chOff x="319422" y="624275"/>
                <a:chExt cx="3386305" cy="234000"/>
              </a:xfrm>
            </p:grpSpPr>
            <p:sp>
              <p:nvSpPr>
                <p:cNvPr id="42" name="正方形/長方形 41">
                  <a:extLst>
                    <a:ext uri="{FF2B5EF4-FFF2-40B4-BE49-F238E27FC236}">
                      <a16:creationId xmlns:a16="http://schemas.microsoft.com/office/drawing/2014/main" id="{3D55598D-E333-3406-D3A8-8DB163ACA43A}"/>
                    </a:ext>
                  </a:extLst>
                </p:cNvPr>
                <p:cNvSpPr/>
                <p:nvPr/>
              </p:nvSpPr>
              <p:spPr bwMode="gray">
                <a:xfrm>
                  <a:off x="1322181" y="624275"/>
                  <a:ext cx="2383546" cy="234000"/>
                </a:xfrm>
                <a:prstGeom prst="rect">
                  <a:avLst/>
                </a:prstGeom>
                <a:solidFill>
                  <a:schemeClr val="bg1"/>
                </a:solidFill>
                <a:ln w="9525" algn="ctr">
                  <a:solidFill>
                    <a:schemeClr val="tx1">
                      <a:lumMod val="50000"/>
                      <a:lumOff val="50000"/>
                    </a:schemeClr>
                  </a:solidFill>
                  <a:miter lim="800000"/>
                  <a:headEnd/>
                  <a:tailEnd/>
                </a:ln>
              </p:spPr>
              <p:txBody>
  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990564">
                    <a:buSzPct val="100000"/>
                  </a:pPr>
                  <a:r>
                    <a:rPr lang="en-US" altLang="ja-JP" sz="1200">
                      <a:solidFill>
                        <a:schemeClr val="tx2"/>
                      </a:solidFill>
                      <a:latin typeface="Yu Gothic UI" panose="020B0500000000000000" pitchFamily="50" charset="-128"/>
                      <a:ea typeface="Yu Gothic UI" panose="020B0500000000000000" pitchFamily="50" charset="-128"/>
                    </a:rPr>
                    <a:t>XXX</a:t>
                  </a:r>
                  <a:endParaRPr lang="ja-JP" altLang="en-US" sz="1200">
                    <a:solidFill>
                      <a:schemeClr val="tx2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endParaRPr>
                </a:p>
              </p:txBody>
            </p:sp>
            <p:sp>
              <p:nvSpPr>
                <p:cNvPr id="43" name="正方形/長方形 1217">
                  <a:extLst>
                    <a:ext uri="{FF2B5EF4-FFF2-40B4-BE49-F238E27FC236}">
                      <a16:creationId xmlns:a16="http://schemas.microsoft.com/office/drawing/2014/main" id="{410B9A7F-784F-AF2F-8AA6-0C4C8E44ECD3}"/>
                    </a:ext>
                  </a:extLst>
                </p:cNvPr>
                <p:cNvSpPr/>
                <p:nvPr/>
              </p:nvSpPr>
              <p:spPr>
                <a:xfrm>
                  <a:off x="319422" y="624275"/>
                  <a:ext cx="996031" cy="234000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 w="952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defRPr/>
                  </a:pPr>
                  <a:r>
                    <a:rPr lang="ja-JP" altLang="en-US" sz="1200" b="1">
                      <a:solidFill>
                        <a:schemeClr val="bg1"/>
                      </a:solidFill>
                      <a:latin typeface="Yu Gothic UI" panose="020B0500000000000000" pitchFamily="50" charset="-128"/>
                      <a:ea typeface="Yu Gothic UI" panose="020B0500000000000000" pitchFamily="50" charset="-128"/>
                    </a:rPr>
                    <a:t>ベンチャー社名</a:t>
                  </a:r>
                  <a:endParaRPr lang="en-US" altLang="ja-JP" sz="1200" b="1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endParaRPr>
                </a:p>
              </p:txBody>
            </p:sp>
          </p:grpSp>
        </p:grpSp>
        <p:grpSp>
          <p:nvGrpSpPr>
            <p:cNvPr id="35" name="グループ化 34">
              <a:extLst>
                <a:ext uri="{FF2B5EF4-FFF2-40B4-BE49-F238E27FC236}">
                  <a16:creationId xmlns:a16="http://schemas.microsoft.com/office/drawing/2014/main" id="{0CE88530-5F71-1991-2A90-3262B95AEFE9}"/>
                </a:ext>
              </a:extLst>
            </p:cNvPr>
            <p:cNvGrpSpPr/>
            <p:nvPr/>
          </p:nvGrpSpPr>
          <p:grpSpPr>
            <a:xfrm>
              <a:off x="3816653" y="149645"/>
              <a:ext cx="4187284" cy="468000"/>
              <a:chOff x="4618753" y="149645"/>
              <a:chExt cx="4187284" cy="468000"/>
            </a:xfrm>
          </p:grpSpPr>
          <p:sp>
            <p:nvSpPr>
              <p:cNvPr id="36" name="正方形/長方形 35">
                <a:extLst>
                  <a:ext uri="{FF2B5EF4-FFF2-40B4-BE49-F238E27FC236}">
                    <a16:creationId xmlns:a16="http://schemas.microsoft.com/office/drawing/2014/main" id="{6832629B-D73B-216E-50B7-74568BED9B2D}"/>
                  </a:ext>
                </a:extLst>
              </p:cNvPr>
              <p:cNvSpPr/>
              <p:nvPr/>
            </p:nvSpPr>
            <p:spPr bwMode="gray">
              <a:xfrm>
                <a:off x="5374179" y="149645"/>
                <a:ext cx="3431858" cy="46800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>
                    <a:lumMod val="50000"/>
                    <a:lumOff val="50000"/>
                  </a:schemeClr>
                </a:solidFill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90564">
                  <a:buSzPct val="100000"/>
                </a:pPr>
                <a:r>
                  <a:rPr lang="en-US" altLang="ja-JP" sz="1200">
                    <a:solidFill>
                      <a:schemeClr val="tx2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XXX</a:t>
                </a:r>
                <a:endParaRPr lang="ja-JP" altLang="en-US" sz="1200">
                  <a:solidFill>
                    <a:schemeClr val="tx2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endParaRPr>
              </a:p>
            </p:txBody>
          </p:sp>
          <p:sp>
            <p:nvSpPr>
              <p:cNvPr id="37" name="正方形/長方形 1217">
                <a:extLst>
                  <a:ext uri="{FF2B5EF4-FFF2-40B4-BE49-F238E27FC236}">
                    <a16:creationId xmlns:a16="http://schemas.microsoft.com/office/drawing/2014/main" id="{ED421858-35F0-1443-F0FD-DE78366EF8E2}"/>
                  </a:ext>
                </a:extLst>
              </p:cNvPr>
              <p:cNvSpPr/>
              <p:nvPr/>
            </p:nvSpPr>
            <p:spPr>
              <a:xfrm>
                <a:off x="4618753" y="149645"/>
                <a:ext cx="746331" cy="4680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defRPr/>
                </a:pPr>
                <a:r>
                  <a:rPr lang="ja-JP" altLang="en-US" sz="1200" b="1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実証</a:t>
                </a:r>
                <a:endParaRPr lang="en-US" altLang="ja-JP" sz="1200" b="1">
                  <a:solidFill>
                    <a:schemeClr val="bg1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endParaRPr>
              </a:p>
              <a:p>
                <a:pPr algn="ctr">
                  <a:defRPr/>
                </a:pPr>
                <a:r>
                  <a:rPr lang="ja-JP" altLang="en-US" sz="1200" b="1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事業名</a:t>
                </a:r>
                <a:endParaRPr lang="en-US" altLang="ja-JP" sz="1200" b="1">
                  <a:solidFill>
                    <a:schemeClr val="bg1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endParaRPr>
              </a:p>
            </p:txBody>
          </p:sp>
        </p:grpSp>
      </p:grp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FDFDB67F-ADA5-82F8-C948-5DEC7F4997A1}"/>
              </a:ext>
            </a:extLst>
          </p:cNvPr>
          <p:cNvSpPr txBox="1"/>
          <p:nvPr/>
        </p:nvSpPr>
        <p:spPr>
          <a:xfrm>
            <a:off x="8886979" y="-625"/>
            <a:ext cx="74138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100">
                <a:latin typeface="Yu Gothic UI" panose="020B0500000000000000" pitchFamily="50" charset="-128"/>
                <a:ea typeface="Yu Gothic UI" panose="020B0500000000000000" pitchFamily="50" charset="-128"/>
              </a:rPr>
              <a:t>【</a:t>
            </a:r>
            <a:r>
              <a:rPr kumimoji="1" lang="ja-JP" altLang="en-US" sz="1100">
                <a:latin typeface="Yu Gothic UI" panose="020B0500000000000000" pitchFamily="50" charset="-128"/>
                <a:ea typeface="Yu Gothic UI" panose="020B0500000000000000" pitchFamily="50" charset="-128"/>
              </a:rPr>
              <a:t>様式</a:t>
            </a:r>
            <a:r>
              <a:rPr kumimoji="1" lang="en-US" altLang="ja-JP" sz="1100">
                <a:latin typeface="Yu Gothic UI" panose="020B0500000000000000" pitchFamily="50" charset="-128"/>
                <a:ea typeface="Yu Gothic UI" panose="020B0500000000000000" pitchFamily="50" charset="-128"/>
              </a:rPr>
              <a:t>1】</a:t>
            </a:r>
            <a:endParaRPr kumimoji="1" lang="ja-JP" altLang="en-US" sz="1100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14" name="吹き出し: 四角形 13">
            <a:extLst>
              <a:ext uri="{FF2B5EF4-FFF2-40B4-BE49-F238E27FC236}">
                <a16:creationId xmlns:a16="http://schemas.microsoft.com/office/drawing/2014/main" id="{D2E33561-BA03-3CAF-3E96-8800B79E695B}"/>
              </a:ext>
            </a:extLst>
          </p:cNvPr>
          <p:cNvSpPr/>
          <p:nvPr/>
        </p:nvSpPr>
        <p:spPr>
          <a:xfrm>
            <a:off x="9826264" y="0"/>
            <a:ext cx="2463826" cy="1366719"/>
          </a:xfrm>
          <a:prstGeom prst="wedgeRectCallout">
            <a:avLst>
              <a:gd name="adj1" fmla="val -69683"/>
              <a:gd name="adj2" fmla="val -22559"/>
            </a:avLst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altLang="ja-JP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【</a:t>
            </a:r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申請団体様</a:t>
            </a:r>
            <a:r>
              <a:rPr lang="en-US" altLang="ja-JP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】</a:t>
            </a:r>
          </a:p>
          <a:p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該当するカテゴリーの番号を記載ください。</a:t>
            </a:r>
            <a:endParaRPr lang="en-US" altLang="ja-JP" sz="8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① マナー啓発等を目的とした情報発信・多言語対応</a:t>
            </a:r>
          </a:p>
          <a:p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② 予約・決済、通信環境の整備</a:t>
            </a:r>
          </a:p>
          <a:p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③ 混雑対応</a:t>
            </a:r>
          </a:p>
          <a:p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④ 二次交通の円滑な利用・周遊促進</a:t>
            </a:r>
          </a:p>
          <a:p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⑤ 災害等非常時対策</a:t>
            </a:r>
          </a:p>
          <a:p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⑥ 情報収集・分析、マーケティング関連</a:t>
            </a:r>
          </a:p>
          <a:p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⑦ その他受入環境の向上を目的としたサービス導</a:t>
            </a:r>
          </a:p>
        </p:txBody>
      </p:sp>
      <p:grpSp>
        <p:nvGrpSpPr>
          <p:cNvPr id="51" name="グループ化 50">
            <a:extLst>
              <a:ext uri="{FF2B5EF4-FFF2-40B4-BE49-F238E27FC236}">
                <a16:creationId xmlns:a16="http://schemas.microsoft.com/office/drawing/2014/main" id="{80DEC1E0-FBEA-E21A-CD04-F0E6AAAF3598}"/>
              </a:ext>
            </a:extLst>
          </p:cNvPr>
          <p:cNvGrpSpPr/>
          <p:nvPr/>
        </p:nvGrpSpPr>
        <p:grpSpPr>
          <a:xfrm>
            <a:off x="272746" y="4875234"/>
            <a:ext cx="4265457" cy="1819480"/>
            <a:chOff x="7681579" y="726878"/>
            <a:chExt cx="5249792" cy="2016484"/>
          </a:xfrm>
        </p:grpSpPr>
        <p:sp>
          <p:nvSpPr>
            <p:cNvPr id="58" name="正方形/長方形 1208">
              <a:extLst>
                <a:ext uri="{FF2B5EF4-FFF2-40B4-BE49-F238E27FC236}">
                  <a16:creationId xmlns:a16="http://schemas.microsoft.com/office/drawing/2014/main" id="{272B64A1-60AD-864A-391D-F2E4154B0F6D}"/>
                </a:ext>
              </a:extLst>
            </p:cNvPr>
            <p:cNvSpPr/>
            <p:nvPr/>
          </p:nvSpPr>
          <p:spPr>
            <a:xfrm>
              <a:off x="7681579" y="726879"/>
              <a:ext cx="5249792" cy="201648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marL="171450" indent="-171450">
                <a:buFont typeface="Wingdings" panose="05000000000000000000" pitchFamily="2" charset="2"/>
                <a:buChar char="Ø"/>
                <a:defRPr/>
              </a:pPr>
              <a:r>
                <a:rPr lang="ja-JP" altLang="en-US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申請団体と、本事業への申請に至った連携経緯を</a:t>
              </a:r>
              <a:br>
                <a:rPr lang="en-US" altLang="ja-JP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</a:br>
              <a:r>
                <a:rPr lang="ja-JP" altLang="en-US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簡潔に記載してください。</a:t>
              </a:r>
              <a:br>
                <a:rPr lang="en-US" altLang="ja-JP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</a:br>
              <a:r>
                <a:rPr lang="en-US" altLang="ja-JP" sz="1200" spc="-15">
                  <a:solidFill>
                    <a:srgbClr val="000000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XXXXXXXXXX</a:t>
              </a:r>
            </a:p>
          </p:txBody>
        </p:sp>
        <p:sp>
          <p:nvSpPr>
            <p:cNvPr id="59" name="正方形/長方形 1217">
              <a:extLst>
                <a:ext uri="{FF2B5EF4-FFF2-40B4-BE49-F238E27FC236}">
                  <a16:creationId xmlns:a16="http://schemas.microsoft.com/office/drawing/2014/main" id="{1C123FBE-1587-E01F-254D-8210C1044DE2}"/>
                </a:ext>
              </a:extLst>
            </p:cNvPr>
            <p:cNvSpPr/>
            <p:nvPr/>
          </p:nvSpPr>
          <p:spPr>
            <a:xfrm>
              <a:off x="7681579" y="726878"/>
              <a:ext cx="2347222" cy="23399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rIns="27000" rtlCol="0" anchor="ctr"/>
            <a:lstStyle/>
            <a:p>
              <a:pPr algn="ctr">
                <a:defRPr/>
              </a:pPr>
              <a:r>
                <a:rPr lang="ja-JP" altLang="en-US" sz="1200" b="1">
                  <a:solidFill>
                    <a:schemeClr val="bg1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申請団体との連携経緯</a:t>
              </a:r>
            </a:p>
          </p:txBody>
        </p:sp>
      </p:grpSp>
      <p:sp>
        <p:nvSpPr>
          <p:cNvPr id="2" name="スライド番号プレースホルダー 67">
            <a:extLst>
              <a:ext uri="{FF2B5EF4-FFF2-40B4-BE49-F238E27FC236}">
                <a16:creationId xmlns:a16="http://schemas.microsoft.com/office/drawing/2014/main" id="{D9C02187-7290-33F2-2826-05E4AE7ED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-44509" y="6564551"/>
            <a:ext cx="277777" cy="274324"/>
          </a:xfrm>
        </p:spPr>
        <p:txBody>
          <a:bodyPr/>
          <a:lstStyle/>
          <a:p>
            <a:pPr algn="ctr"/>
            <a:fld id="{AA5FCFE5-FE56-4EF1-80A8-07776887C2A1}" type="slidenum">
              <a:rPr lang="ja-JP" altLang="en-US" smtClean="0"/>
              <a:pPr algn="ctr"/>
              <a:t>2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7760855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7D4B171C-94AB-344E-2CF2-F4F7D4E1D6FE}"/>
              </a:ext>
            </a:extLst>
          </p:cNvPr>
          <p:cNvSpPr/>
          <p:nvPr/>
        </p:nvSpPr>
        <p:spPr>
          <a:xfrm>
            <a:off x="355600" y="558800"/>
            <a:ext cx="9194800" cy="57488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>
                <a:solidFill>
                  <a:schemeClr val="tx1">
                    <a:lumMod val="50000"/>
                    <a:lumOff val="50000"/>
                  </a:schemeClr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その他、実証事業内容、インバウンドベンチャーの地域への導入実績等</a:t>
            </a:r>
            <a:endParaRPr kumimoji="1" lang="en-US" altLang="ja-JP">
              <a:solidFill>
                <a:schemeClr val="tx1">
                  <a:lumMod val="50000"/>
                  <a:lumOff val="50000"/>
                </a:schemeClr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  <a:p>
            <a:pPr algn="ctr"/>
            <a:r>
              <a:rPr kumimoji="1" lang="ja-JP" altLang="en-US">
                <a:solidFill>
                  <a:schemeClr val="tx1">
                    <a:lumMod val="50000"/>
                    <a:lumOff val="50000"/>
                  </a:schemeClr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申請にあたって補足事項があれば追記してください</a:t>
            </a:r>
            <a:endParaRPr kumimoji="1" lang="en-US" altLang="ja-JP">
              <a:solidFill>
                <a:schemeClr val="tx1">
                  <a:lumMod val="50000"/>
                  <a:lumOff val="50000"/>
                </a:schemeClr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  <a:p>
            <a:pPr algn="ctr"/>
            <a:r>
              <a:rPr kumimoji="1" lang="ja-JP" altLang="en-US">
                <a:solidFill>
                  <a:schemeClr val="tx1">
                    <a:lumMod val="50000"/>
                    <a:lumOff val="50000"/>
                  </a:schemeClr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（任意様式｜最大</a:t>
            </a:r>
            <a:r>
              <a:rPr kumimoji="1" lang="en-US" altLang="ja-JP">
                <a:solidFill>
                  <a:schemeClr val="tx1">
                    <a:lumMod val="50000"/>
                    <a:lumOff val="50000"/>
                  </a:schemeClr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2</a:t>
            </a:r>
            <a:r>
              <a:rPr kumimoji="1" lang="ja-JP" altLang="en-US">
                <a:solidFill>
                  <a:schemeClr val="tx1">
                    <a:lumMod val="50000"/>
                    <a:lumOff val="50000"/>
                  </a:schemeClr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枚まで）</a:t>
            </a:r>
          </a:p>
        </p:txBody>
      </p:sp>
      <p:sp>
        <p:nvSpPr>
          <p:cNvPr id="9" name="スライド番号プレースホルダー 67">
            <a:extLst>
              <a:ext uri="{FF2B5EF4-FFF2-40B4-BE49-F238E27FC236}">
                <a16:creationId xmlns:a16="http://schemas.microsoft.com/office/drawing/2014/main" id="{93438F8C-4172-1AA4-F885-99FD8ECDC32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-44509" y="6564551"/>
            <a:ext cx="277777" cy="274324"/>
          </a:xfrm>
        </p:spPr>
        <p:txBody>
          <a:bodyPr/>
          <a:lstStyle/>
          <a:p>
            <a:pPr algn="ctr"/>
            <a:fld id="{AA5FCFE5-FE56-4EF1-80A8-07776887C2A1}" type="slidenum">
              <a:rPr lang="ja-JP" altLang="en-US" smtClean="0"/>
              <a:pPr algn="ctr"/>
              <a:t>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97323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kumimoji="1" sz="1200" dirty="0" smtClean="0">
            <a:latin typeface="Yu Gothic UI" panose="020B0500000000000000" pitchFamily="50" charset="-128"/>
            <a:ea typeface="Yu Gothic UI" panose="020B0500000000000000" pitchFamily="50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FB2938C162E754F97DF37E2C2D763AD" ma:contentTypeVersion="5" ma:contentTypeDescription="Create a new document." ma:contentTypeScope="" ma:versionID="73e4d3e767fa3018d835a15834ac4d46">
  <xsd:schema xmlns:xsd="http://www.w3.org/2001/XMLSchema" xmlns:xs="http://www.w3.org/2001/XMLSchema" xmlns:p="http://schemas.microsoft.com/office/2006/metadata/properties" xmlns:ns2="fc4234d7-82f7-4bf7-9277-c77ef2e438a4" xmlns:ns3="3bb0c8c5-64ea-472d-9b36-dcd2b1e92629" targetNamespace="http://schemas.microsoft.com/office/2006/metadata/properties" ma:root="true" ma:fieldsID="6ab64d5c8a7e1dac6f3ee26ab852fdc9" ns2:_="" ns3:_="">
    <xsd:import namespace="fc4234d7-82f7-4bf7-9277-c77ef2e438a4"/>
    <xsd:import namespace="3bb0c8c5-64ea-472d-9b36-dcd2b1e9262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4234d7-82f7-4bf7-9277-c77ef2e438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b0c8c5-64ea-472d-9b36-dcd2b1e92629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C4BBE2E-B27B-41C1-9A48-A061F25E7316}">
  <ds:schemaRefs>
    <ds:schemaRef ds:uri="http://purl.org/dc/dcmitype/"/>
    <ds:schemaRef ds:uri="fc4234d7-82f7-4bf7-9277-c77ef2e438a4"/>
    <ds:schemaRef ds:uri="http://schemas.microsoft.com/office/2006/metadata/properties"/>
    <ds:schemaRef ds:uri="http://schemas.microsoft.com/office/infopath/2007/PartnerControls"/>
    <ds:schemaRef ds:uri="http://purl.org/dc/elements/1.1/"/>
    <ds:schemaRef ds:uri="3bb0c8c5-64ea-472d-9b36-dcd2b1e92629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AE0E0DF-28DD-47E7-A9FD-99C6C82B078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7746C07-C93B-49F4-B15A-209CCB1C3C04}">
  <ds:schemaRefs>
    <ds:schemaRef ds:uri="3bb0c8c5-64ea-472d-9b36-dcd2b1e92629"/>
    <ds:schemaRef ds:uri="fc4234d7-82f7-4bf7-9277-c77ef2e438a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480</Words>
  <Application>Microsoft Office PowerPoint</Application>
  <PresentationFormat>A4 210 x 297 mm</PresentationFormat>
  <Paragraphs>73</Paragraphs>
  <Slides>3</Slides>
  <Notes>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</vt:i4>
      </vt:variant>
    </vt:vector>
  </HeadingPairs>
  <TitlesOfParts>
    <vt:vector size="12" baseType="lpstr">
      <vt:lpstr>Meiryo UI</vt:lpstr>
      <vt:lpstr>Yu Gothic UI</vt:lpstr>
      <vt:lpstr>游ゴシック</vt:lpstr>
      <vt:lpstr>Arial</vt:lpstr>
      <vt:lpstr>Calibri</vt:lpstr>
      <vt:lpstr>Calibri Light</vt:lpstr>
      <vt:lpstr>Wingdings</vt:lpstr>
      <vt:lpstr>Office テーマ</vt:lpstr>
      <vt:lpstr>think-cell スライド</vt:lpstr>
      <vt:lpstr>PowerPoint プレゼンテーション</vt:lpstr>
      <vt:lpstr>PowerPoint プレゼンテーション</vt:lpstr>
      <vt:lpstr>PowerPoint プレゼンテーション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Administrator</dc:creator>
  <cp:lastModifiedBy>Administrator</cp:lastModifiedBy>
  <cp:revision>1</cp:revision>
  <dcterms:created xsi:type="dcterms:W3CDTF">2023-09-11T12:42:05Z</dcterms:created>
  <dcterms:modified xsi:type="dcterms:W3CDTF">2023-10-11T06:03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9-11T12:42:06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1cd0284f-ef82-4c69-940d-1b2a2f3b0d4a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0FB2938C162E754F97DF37E2C2D763AD</vt:lpwstr>
  </property>
</Properties>
</file>